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1"/>
  </p:notesMasterIdLst>
  <p:sldIdLst>
    <p:sldId id="269" r:id="rId2"/>
    <p:sldId id="300" r:id="rId3"/>
    <p:sldId id="301" r:id="rId4"/>
    <p:sldId id="302" r:id="rId5"/>
    <p:sldId id="305" r:id="rId6"/>
    <p:sldId id="306" r:id="rId7"/>
    <p:sldId id="307" r:id="rId8"/>
    <p:sldId id="309" r:id="rId9"/>
    <p:sldId id="282" r:id="rId10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809" autoAdjust="0"/>
    <p:restoredTop sz="94660"/>
  </p:normalViewPr>
  <p:slideViewPr>
    <p:cSldViewPr snapToGrid="0">
      <p:cViewPr>
        <p:scale>
          <a:sx n="90" d="100"/>
          <a:sy n="90" d="100"/>
        </p:scale>
        <p:origin x="-348" y="-40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F4E529A-D346-431C-B920-6259D6A1651A}" type="datetimeFigureOut">
              <a:rPr lang="zh-CN" altLang="en-US" smtClean="0"/>
              <a:t>2018/5/9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C477EE2-33BB-4B14-8EBB-833E2D23E6A4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07075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5" name="pg num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FE1812BF-A86F-45F9-800C-E1EBCD86207D}" type="slidenum">
              <a:rPr lang="ko-KR" altLang="en-US" smtClean="0">
                <a:solidFill>
                  <a:srgbClr val="000000"/>
                </a:solidFill>
                <a:cs typeface="윤고딕130"/>
              </a:rPr>
              <a:pPr/>
              <a:t>1</a:t>
            </a:fld>
            <a:endParaRPr lang="en-US" altLang="ko-KR" smtClean="0">
              <a:solidFill>
                <a:srgbClr val="000000"/>
              </a:solidFill>
              <a:cs typeface="윤고딕130"/>
            </a:endParaRPr>
          </a:p>
        </p:txBody>
      </p:sp>
      <p:sp>
        <p:nvSpPr>
          <p:cNvPr id="2150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</p:spTree>
    <p:extLst>
      <p:ext uri="{BB962C8B-B14F-4D97-AF65-F5344CB8AC3E}">
        <p14:creationId xmlns:p14="http://schemas.microsoft.com/office/powerpoint/2010/main" val="10582687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13"/>
          <p:cNvSpPr>
            <a:spLocks noChangeShapeType="1"/>
          </p:cNvSpPr>
          <p:nvPr/>
        </p:nvSpPr>
        <p:spPr bwMode="auto">
          <a:xfrm>
            <a:off x="1191846" y="4659313"/>
            <a:ext cx="10668000" cy="0"/>
          </a:xfrm>
          <a:prstGeom prst="line">
            <a:avLst/>
          </a:prstGeom>
          <a:noFill/>
          <a:ln w="28575">
            <a:solidFill>
              <a:srgbClr val="10399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r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ko-KR" altLang="en-US" sz="1200" dirty="0">
              <a:solidFill>
                <a:srgbClr val="000000"/>
              </a:solidFill>
            </a:endParaRPr>
          </a:p>
        </p:txBody>
      </p:sp>
      <p:sp>
        <p:nvSpPr>
          <p:cNvPr id="5" name="Freeform 17"/>
          <p:cNvSpPr>
            <a:spLocks/>
          </p:cNvSpPr>
          <p:nvPr/>
        </p:nvSpPr>
        <p:spPr bwMode="auto">
          <a:xfrm>
            <a:off x="10880970" y="2103438"/>
            <a:ext cx="1312985" cy="3622675"/>
          </a:xfrm>
          <a:custGeom>
            <a:avLst/>
            <a:gdLst/>
            <a:ahLst/>
            <a:cxnLst>
              <a:cxn ang="0">
                <a:pos x="661" y="0"/>
              </a:cxn>
              <a:cxn ang="0">
                <a:pos x="0" y="2032"/>
              </a:cxn>
              <a:cxn ang="0">
                <a:pos x="661" y="2245"/>
              </a:cxn>
            </a:cxnLst>
            <a:rect l="0" t="0" r="r" b="b"/>
            <a:pathLst>
              <a:path w="661" h="2245">
                <a:moveTo>
                  <a:pt x="661" y="0"/>
                </a:moveTo>
                <a:lnTo>
                  <a:pt x="0" y="2032"/>
                </a:lnTo>
                <a:lnTo>
                  <a:pt x="661" y="2245"/>
                </a:lnTo>
              </a:path>
            </a:pathLst>
          </a:custGeom>
          <a:solidFill>
            <a:schemeClr val="bg1"/>
          </a:solidFill>
          <a:ln w="28575" cmpd="sng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algn="r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ko-KR" altLang="en-US" sz="1200" dirty="0">
              <a:solidFill>
                <a:srgbClr val="000000"/>
              </a:solidFill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189893" y="3313113"/>
            <a:ext cx="9065846" cy="366712"/>
          </a:xfrm>
          <a:ln/>
        </p:spPr>
        <p:txBody>
          <a:bodyPr/>
          <a:lstStyle>
            <a:lvl1pPr>
              <a:defRPr sz="2400">
                <a:solidFill>
                  <a:srgbClr val="103991"/>
                </a:solidFill>
              </a:defRPr>
            </a:lvl1pPr>
          </a:lstStyle>
          <a:p>
            <a:r>
              <a:rPr lang="en-US" altLang="ko-KR"/>
              <a:t>Click to edit Master title style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191846" y="3819526"/>
            <a:ext cx="8534400" cy="369332"/>
          </a:xfrm>
          <a:ln algn="ctr"/>
        </p:spPr>
        <p:txBody>
          <a:bodyPr/>
          <a:lstStyle>
            <a:lvl1pPr>
              <a:defRPr sz="2400">
                <a:solidFill>
                  <a:srgbClr val="103991"/>
                </a:solidFill>
              </a:defRPr>
            </a:lvl1pPr>
          </a:lstStyle>
          <a:p>
            <a:r>
              <a:rPr lang="en-US" altLang="ko-KR"/>
              <a:t>Click to edit Master subtitle style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6105525" cy="1419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76406942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9822715" y="1711326"/>
            <a:ext cx="1661993" cy="1107996"/>
          </a:xfr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3211AF3-FD7C-4C0E-8E51-D9188F33BE11}" type="slidenum">
              <a:rPr lang="ko-KR" altLang="en-US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14900327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10899933" y="360364"/>
            <a:ext cx="584775" cy="2446337"/>
          </a:xfrm>
        </p:spPr>
        <p:txBody>
          <a:bodyPr vert="eaVert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7483067" y="360364"/>
            <a:ext cx="1107996" cy="2446337"/>
          </a:xfr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06CE240-EAC9-4A22-87D9-FECD5EA93B95}" type="slidenum">
              <a:rPr lang="ko-KR" altLang="en-US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46453724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654538" y="214291"/>
            <a:ext cx="11228400" cy="496869"/>
          </a:xfrm>
        </p:spPr>
        <p:txBody>
          <a:bodyPr anchor="b">
            <a:noAutofit/>
          </a:bodyPr>
          <a:lstStyle>
            <a:lvl1pPr>
              <a:defRPr sz="2000"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654539" y="1052736"/>
            <a:ext cx="10892692" cy="5329014"/>
          </a:xfrm>
        </p:spPr>
        <p:txBody>
          <a:bodyPr>
            <a:normAutofit/>
          </a:bodyPr>
          <a:lstStyle>
            <a:lvl1pPr marL="182563" indent="-182563">
              <a:lnSpc>
                <a:spcPct val="150000"/>
              </a:lnSpc>
              <a:buFont typeface="Arial" pitchFamily="34" charset="0"/>
              <a:buChar char="■"/>
              <a:defRPr sz="1800"/>
            </a:lvl1pPr>
            <a:lvl2pPr marL="447675" indent="-125413">
              <a:lnSpc>
                <a:spcPct val="150000"/>
              </a:lnSpc>
              <a:defRPr sz="1600"/>
            </a:lvl2pPr>
            <a:lvl3pPr marL="803275" indent="-173038">
              <a:lnSpc>
                <a:spcPct val="150000"/>
              </a:lnSpc>
              <a:defRPr sz="1100"/>
            </a:lvl3pPr>
            <a:lvl4pPr marL="985838" indent="-173038">
              <a:lnSpc>
                <a:spcPct val="150000"/>
              </a:lnSpc>
              <a:defRPr sz="1100"/>
            </a:lvl4pPr>
            <a:lvl5pPr marL="985838" indent="-173038">
              <a:lnSpc>
                <a:spcPct val="150000"/>
              </a:lnSpc>
              <a:defRPr sz="1100"/>
            </a:lvl5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211BAA2-4BFC-47F2-8F77-B71FCDCC4897}" type="slidenum">
              <a:rPr lang="ko-KR" altLang="en-US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295864476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0" y="2285992"/>
            <a:ext cx="12192000" cy="1285884"/>
          </a:xfrm>
        </p:spPr>
        <p:txBody>
          <a:bodyPr anchor="b">
            <a:noAutofit/>
          </a:bodyPr>
          <a:lstStyle>
            <a:lvl1pPr algn="ctr">
              <a:defRPr sz="6600" b="0" cap="all"/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380960" y="5764419"/>
            <a:ext cx="10363200" cy="30777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C83913C-E40F-4F73-843C-E32AC7BEC653}" type="slidenum">
              <a:rPr lang="ko-KR" altLang="en-US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22954272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654538" y="360363"/>
            <a:ext cx="11228400" cy="496800"/>
          </a:xfrm>
        </p:spPr>
        <p:txBody>
          <a:bodyPr/>
          <a:lstStyle>
            <a:lvl1pPr>
              <a:defRPr sz="2000"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654539" y="1711326"/>
            <a:ext cx="5320322" cy="2092881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6162431" y="1711326"/>
            <a:ext cx="5322277" cy="2092881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E55322F-257C-4365-A83C-427EE69E1EB6}" type="slidenum">
              <a:rPr lang="ko-KR" altLang="en-US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159872491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609600" y="274637"/>
            <a:ext cx="11228400" cy="496800"/>
          </a:xfrm>
        </p:spPr>
        <p:txBody>
          <a:bodyPr/>
          <a:lstStyle>
            <a:lvl1pPr>
              <a:defRPr sz="2000"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609600" y="1805543"/>
            <a:ext cx="5386754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754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6193693" y="1805543"/>
            <a:ext cx="5388708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6193693" y="2174875"/>
            <a:ext cx="5388708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0EBC0F7-0793-49DA-BE2B-CD91458C1B7E}" type="slidenum">
              <a:rPr lang="ko-KR" altLang="en-US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32041498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654538" y="360364"/>
            <a:ext cx="11228400" cy="496800"/>
          </a:xfrm>
        </p:spPr>
        <p:txBody>
          <a:bodyPr/>
          <a:lstStyle/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5FC73FC-4FEC-4641-82AC-D97F6BC9C91C}" type="slidenum">
              <a:rPr lang="ko-KR" altLang="en-US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226554321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B85C642C-5006-4565-BF8F-7038849047A2}" type="slidenum">
              <a:rPr lang="ko-KR" altLang="en-US"/>
              <a:pPr>
                <a:defRPr/>
              </a:pPr>
              <a:t>‹#›</a:t>
            </a:fld>
            <a:r>
              <a:rPr lang="en-US" altLang="ko-KR" dirty="0"/>
              <a:t>/31</a:t>
            </a:r>
          </a:p>
        </p:txBody>
      </p:sp>
    </p:spTree>
    <p:extLst>
      <p:ext uri="{BB962C8B-B14F-4D97-AF65-F5344CB8AC3E}">
        <p14:creationId xmlns:p14="http://schemas.microsoft.com/office/powerpoint/2010/main" val="385424731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609600" y="1127323"/>
            <a:ext cx="4011247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4767385" y="273051"/>
            <a:ext cx="6815015" cy="190821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609600" y="1435101"/>
            <a:ext cx="4011247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9D1D7DC-B070-4F5F-8559-D8E8A87BE8B6}" type="slidenum">
              <a:rPr lang="ko-KR" altLang="en-US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321938295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389554" y="5059561"/>
            <a:ext cx="7315200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2389554" y="612775"/>
            <a:ext cx="7315200" cy="49244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ko-KR" altLang="en-US" noProof="0" dirty="0" smtClean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2389554" y="5367338"/>
            <a:ext cx="7315200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69D55A5-8FEE-4E63-8D9A-45641DA5EACD}" type="slidenum">
              <a:rPr lang="ko-KR" altLang="en-US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9070030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54539" y="360364"/>
            <a:ext cx="10830169" cy="2923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ko-KR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54539" y="1711326"/>
            <a:ext cx="10830169" cy="11079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ko-KR" smtClean="0"/>
              <a:t>Normal Text</a:t>
            </a:r>
          </a:p>
          <a:p>
            <a:pPr lvl="0"/>
            <a:endParaRPr lang="en-US" altLang="ko-KR" smtClean="0"/>
          </a:p>
          <a:p>
            <a:pPr lvl="1"/>
            <a:r>
              <a:rPr lang="en-US" altLang="ko-KR" smtClean="0"/>
              <a:t>First level</a:t>
            </a:r>
          </a:p>
          <a:p>
            <a:pPr lvl="2"/>
            <a:r>
              <a:rPr lang="en-US" altLang="ko-KR" smtClean="0"/>
              <a:t>Second level</a:t>
            </a:r>
          </a:p>
          <a:p>
            <a:pPr lvl="3"/>
            <a:r>
              <a:rPr lang="en-US" altLang="ko-KR" smtClean="0"/>
              <a:t>Third level</a:t>
            </a:r>
          </a:p>
          <a:p>
            <a:pPr lvl="4"/>
            <a:r>
              <a:rPr lang="en-US" altLang="ko-KR" smtClean="0"/>
              <a:t>Fourth level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405815" y="6597650"/>
            <a:ext cx="2540000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100000"/>
              </a:lnSpc>
              <a:defRPr sz="800" smtClean="0">
                <a:solidFill>
                  <a:srgbClr val="333333"/>
                </a:solidFill>
                <a:ea typeface="윤고딕130" pitchFamily="18" charset="-127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57BE052-26D5-498C-89E1-CE738982A2C5}" type="slidenum">
              <a:rPr lang="ko-KR" altLang="en-US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ko-KR" dirty="0"/>
          </a:p>
        </p:txBody>
      </p:sp>
      <p:sp>
        <p:nvSpPr>
          <p:cNvPr id="1032" name="Line 8"/>
          <p:cNvSpPr>
            <a:spLocks noChangeShapeType="1"/>
          </p:cNvSpPr>
          <p:nvPr/>
        </p:nvSpPr>
        <p:spPr bwMode="auto">
          <a:xfrm>
            <a:off x="654539" y="777875"/>
            <a:ext cx="11293231" cy="0"/>
          </a:xfrm>
          <a:prstGeom prst="line">
            <a:avLst/>
          </a:prstGeom>
          <a:noFill/>
          <a:ln w="19050">
            <a:solidFill>
              <a:srgbClr val="10399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r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ko-KR" altLang="en-US" sz="1200" dirty="0">
              <a:solidFill>
                <a:srgbClr val="000000"/>
              </a:solidFill>
            </a:endParaRPr>
          </a:p>
        </p:txBody>
      </p:sp>
      <p:pic>
        <p:nvPicPr>
          <p:cNvPr id="10" name="图片 9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916" y="6264835"/>
            <a:ext cx="540000" cy="5400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893135" y="6528387"/>
            <a:ext cx="203132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200" dirty="0" smtClean="0">
                <a:solidFill>
                  <a:schemeClr val="bg1">
                    <a:lumMod val="65000"/>
                  </a:schemeClr>
                </a:solidFill>
                <a:latin typeface="Noto Sans CJK SC Regular" pitchFamily="34" charset="-122"/>
                <a:ea typeface="Noto Sans CJK SC Regular" pitchFamily="34" charset="-122"/>
              </a:rPr>
              <a:t>秦皇岛市西港区人民武装部</a:t>
            </a:r>
            <a:endParaRPr lang="zh-CN" altLang="en-US" sz="1200" dirty="0">
              <a:solidFill>
                <a:schemeClr val="bg1">
                  <a:lumMod val="65000"/>
                </a:schemeClr>
              </a:solidFill>
              <a:latin typeface="Noto Sans CJK SC Regular" pitchFamily="34" charset="-122"/>
              <a:ea typeface="Noto Sans CJK SC Regular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4357594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900" b="1">
          <a:solidFill>
            <a:srgbClr val="000000"/>
          </a:solidFill>
          <a:latin typeface="+mj-lt"/>
          <a:ea typeface="+mj-ea"/>
          <a:cs typeface="윤고딕15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900" b="1">
          <a:solidFill>
            <a:srgbClr val="000000"/>
          </a:solidFill>
          <a:latin typeface="Arial Black" pitchFamily="34" charset="0"/>
          <a:ea typeface="윤고딕150" pitchFamily="18" charset="-127"/>
          <a:cs typeface="윤고딕15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900" b="1">
          <a:solidFill>
            <a:srgbClr val="000000"/>
          </a:solidFill>
          <a:latin typeface="Arial Black" pitchFamily="34" charset="0"/>
          <a:ea typeface="윤고딕150" pitchFamily="18" charset="-127"/>
          <a:cs typeface="윤고딕15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900" b="1">
          <a:solidFill>
            <a:srgbClr val="000000"/>
          </a:solidFill>
          <a:latin typeface="Arial Black" pitchFamily="34" charset="0"/>
          <a:ea typeface="윤고딕150" pitchFamily="18" charset="-127"/>
          <a:cs typeface="윤고딕15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900" b="1">
          <a:solidFill>
            <a:srgbClr val="000000"/>
          </a:solidFill>
          <a:latin typeface="Arial Black" pitchFamily="34" charset="0"/>
          <a:ea typeface="윤고딕150" pitchFamily="18" charset="-127"/>
          <a:cs typeface="윤고딕150"/>
        </a:defRPr>
      </a:lvl5pPr>
      <a:lvl6pPr marL="457200" algn="l" rtl="0" fontAlgn="base">
        <a:spcBef>
          <a:spcPct val="0"/>
        </a:spcBef>
        <a:spcAft>
          <a:spcPct val="0"/>
        </a:spcAft>
        <a:defRPr sz="1900" b="1">
          <a:solidFill>
            <a:srgbClr val="000000"/>
          </a:solidFill>
          <a:latin typeface="Arial" charset="0"/>
          <a:ea typeface="윤고딕150" pitchFamily="18" charset="-127"/>
        </a:defRPr>
      </a:lvl6pPr>
      <a:lvl7pPr marL="914400" algn="l" rtl="0" fontAlgn="base">
        <a:spcBef>
          <a:spcPct val="0"/>
        </a:spcBef>
        <a:spcAft>
          <a:spcPct val="0"/>
        </a:spcAft>
        <a:defRPr sz="1900" b="1">
          <a:solidFill>
            <a:srgbClr val="000000"/>
          </a:solidFill>
          <a:latin typeface="Arial" charset="0"/>
          <a:ea typeface="윤고딕150" pitchFamily="18" charset="-127"/>
        </a:defRPr>
      </a:lvl7pPr>
      <a:lvl8pPr marL="1371600" algn="l" rtl="0" fontAlgn="base">
        <a:spcBef>
          <a:spcPct val="0"/>
        </a:spcBef>
        <a:spcAft>
          <a:spcPct val="0"/>
        </a:spcAft>
        <a:defRPr sz="1900" b="1">
          <a:solidFill>
            <a:srgbClr val="000000"/>
          </a:solidFill>
          <a:latin typeface="Arial" charset="0"/>
          <a:ea typeface="윤고딕150" pitchFamily="18" charset="-127"/>
        </a:defRPr>
      </a:lvl8pPr>
      <a:lvl9pPr marL="1828800" algn="l" rtl="0" fontAlgn="base">
        <a:spcBef>
          <a:spcPct val="0"/>
        </a:spcBef>
        <a:spcAft>
          <a:spcPct val="0"/>
        </a:spcAft>
        <a:defRPr sz="1900" b="1">
          <a:solidFill>
            <a:srgbClr val="000000"/>
          </a:solidFill>
          <a:latin typeface="Arial" charset="0"/>
          <a:ea typeface="윤고딕150" pitchFamily="18" charset="-127"/>
        </a:defRPr>
      </a:lvl9pPr>
    </p:titleStyle>
    <p:bodyStyle>
      <a:lvl1pPr marL="342900" indent="-342900" algn="l" defTabSz="936625" rtl="0" eaLnBrk="0" fontAlgn="base" hangingPunct="0">
        <a:spcBef>
          <a:spcPct val="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  <a:ea typeface="+mn-ea"/>
          <a:cs typeface="윤고딕130"/>
        </a:defRPr>
      </a:lvl1pPr>
      <a:lvl2pPr marL="104775" indent="-103188" algn="l" defTabSz="936625" rtl="0" eaLnBrk="0" fontAlgn="base" hangingPunct="0">
        <a:spcBef>
          <a:spcPct val="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  <a:ea typeface="+mn-ea"/>
          <a:cs typeface="윤고딕130"/>
        </a:defRPr>
      </a:lvl2pPr>
      <a:lvl3pPr marL="209550" indent="-103188" algn="l" defTabSz="936625" rtl="0" eaLnBrk="0" fontAlgn="base" hangingPunct="0">
        <a:spcBef>
          <a:spcPct val="0"/>
        </a:spcBef>
        <a:spcAft>
          <a:spcPct val="0"/>
        </a:spcAft>
        <a:buChar char="–"/>
        <a:defRPr sz="1200">
          <a:solidFill>
            <a:schemeClr val="tx1"/>
          </a:solidFill>
          <a:latin typeface="+mn-lt"/>
          <a:ea typeface="+mn-ea"/>
          <a:cs typeface="윤고딕130"/>
        </a:defRPr>
      </a:lvl3pPr>
      <a:lvl4pPr marL="314325" indent="-103188" algn="l" defTabSz="936625" rtl="0" eaLnBrk="0" fontAlgn="base" hangingPunct="0">
        <a:spcBef>
          <a:spcPct val="0"/>
        </a:spcBef>
        <a:spcAft>
          <a:spcPct val="0"/>
        </a:spcAft>
        <a:buChar char="·"/>
        <a:defRPr sz="1200">
          <a:solidFill>
            <a:schemeClr val="tx1"/>
          </a:solidFill>
          <a:latin typeface="+mn-lt"/>
          <a:ea typeface="+mn-ea"/>
          <a:cs typeface="윤고딕130"/>
        </a:defRPr>
      </a:lvl4pPr>
      <a:lvl5pPr marL="420688" indent="-98425" algn="l" defTabSz="936625" rtl="0" eaLnBrk="0" fontAlgn="base" hangingPunct="0">
        <a:spcBef>
          <a:spcPct val="0"/>
        </a:spcBef>
        <a:spcAft>
          <a:spcPct val="0"/>
        </a:spcAft>
        <a:buChar char="›"/>
        <a:defRPr sz="1200">
          <a:solidFill>
            <a:schemeClr val="tx1"/>
          </a:solidFill>
          <a:latin typeface="+mn-lt"/>
          <a:ea typeface="+mn-ea"/>
          <a:cs typeface="윤고딕130"/>
        </a:defRPr>
      </a:lvl5pPr>
      <a:lvl6pPr marL="877888" indent="-98425" algn="l" defTabSz="936625" rtl="0" eaLnBrk="0" fontAlgn="base" hangingPunct="0">
        <a:spcBef>
          <a:spcPct val="0"/>
        </a:spcBef>
        <a:spcAft>
          <a:spcPct val="0"/>
        </a:spcAft>
        <a:buChar char="›"/>
        <a:defRPr sz="1200">
          <a:solidFill>
            <a:schemeClr val="tx1"/>
          </a:solidFill>
          <a:latin typeface="+mn-lt"/>
          <a:ea typeface="+mn-ea"/>
        </a:defRPr>
      </a:lvl6pPr>
      <a:lvl7pPr marL="1335088" indent="-98425" algn="l" defTabSz="936625" rtl="0" eaLnBrk="0" fontAlgn="base" hangingPunct="0">
        <a:spcBef>
          <a:spcPct val="0"/>
        </a:spcBef>
        <a:spcAft>
          <a:spcPct val="0"/>
        </a:spcAft>
        <a:buChar char="›"/>
        <a:defRPr sz="1200">
          <a:solidFill>
            <a:schemeClr val="tx1"/>
          </a:solidFill>
          <a:latin typeface="+mn-lt"/>
          <a:ea typeface="+mn-ea"/>
        </a:defRPr>
      </a:lvl7pPr>
      <a:lvl8pPr marL="1792288" indent="-98425" algn="l" defTabSz="936625" rtl="0" eaLnBrk="0" fontAlgn="base" hangingPunct="0">
        <a:spcBef>
          <a:spcPct val="0"/>
        </a:spcBef>
        <a:spcAft>
          <a:spcPct val="0"/>
        </a:spcAft>
        <a:buChar char="›"/>
        <a:defRPr sz="1200">
          <a:solidFill>
            <a:schemeClr val="tx1"/>
          </a:solidFill>
          <a:latin typeface="+mn-lt"/>
          <a:ea typeface="+mn-ea"/>
        </a:defRPr>
      </a:lvl8pPr>
      <a:lvl9pPr marL="2249488" indent="-98425" algn="l" defTabSz="936625" rtl="0" eaLnBrk="0" fontAlgn="base" hangingPunct="0">
        <a:spcBef>
          <a:spcPct val="0"/>
        </a:spcBef>
        <a:spcAft>
          <a:spcPct val="0"/>
        </a:spcAft>
        <a:buChar char="›"/>
        <a:defRPr sz="12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hyperlink" Target="http://newdoopro.doosaninfracore.cn:8080/pdms/index.jsp" TargetMode="Externa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4" Type="http://schemas.openxmlformats.org/officeDocument/2006/relationships/image" Target="../media/image9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3" name="Rectangle 1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218318" y="4835525"/>
            <a:ext cx="3141662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ko-KR" sz="1400" dirty="0" smtClean="0">
                <a:solidFill>
                  <a:srgbClr val="0083CD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2018.05.01 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1400" dirty="0" smtClean="0">
                <a:solidFill>
                  <a:srgbClr val="0083CD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秦皇岛市西港区人民武装</a:t>
            </a:r>
            <a:r>
              <a:rPr lang="zh-CN" altLang="en-US" sz="1400" dirty="0" smtClean="0">
                <a:solidFill>
                  <a:srgbClr val="0083CD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部</a:t>
            </a:r>
            <a:endParaRPr lang="en-US" altLang="ko-KR" sz="1400" dirty="0">
              <a:solidFill>
                <a:srgbClr val="0083CD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5124" name="Text Box 15"/>
          <p:cNvSpPr txBox="1">
            <a:spLocks noChangeArrowheads="1"/>
          </p:cNvSpPr>
          <p:nvPr/>
        </p:nvSpPr>
        <p:spPr bwMode="auto">
          <a:xfrm>
            <a:off x="9648826" y="111126"/>
            <a:ext cx="1336675" cy="257175"/>
          </a:xfrm>
          <a:prstGeom prst="rect">
            <a:avLst/>
          </a:prstGeom>
          <a:noFill/>
          <a:ln w="19050">
            <a:solidFill>
              <a:srgbClr val="FF0000"/>
            </a:solidFill>
            <a:miter lim="800000"/>
            <a:headEnd/>
            <a:tailEnd/>
          </a:ln>
        </p:spPr>
        <p:txBody>
          <a:bodyPr lIns="86886" tIns="43443" rIns="86886" bIns="43443">
            <a:spAutoFit/>
          </a:bodyPr>
          <a:lstStyle/>
          <a:p>
            <a:pPr algn="ctr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ko-KR" sz="13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Confidential</a:t>
            </a:r>
          </a:p>
        </p:txBody>
      </p:sp>
      <p:sp>
        <p:nvSpPr>
          <p:cNvPr id="20483" name="제목 8"/>
          <p:cNvSpPr>
            <a:spLocks noGrp="1"/>
          </p:cNvSpPr>
          <p:nvPr>
            <p:ph type="ctrTitle"/>
          </p:nvPr>
        </p:nvSpPr>
        <p:spPr>
          <a:xfrm>
            <a:off x="1218318" y="3271134"/>
            <a:ext cx="8784998" cy="1292662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 altLang="zh-CN" sz="28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PDMS</a:t>
            </a:r>
            <a:r>
              <a:rPr lang="zh-CN" altLang="en-US" sz="28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系统培训资料</a:t>
            </a:r>
            <a:r>
              <a:rPr lang="en-US" altLang="zh-CN" sz="28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/>
            </a:r>
            <a:br>
              <a:rPr lang="en-US" altLang="zh-CN" sz="28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</a:br>
            <a:r>
              <a:rPr lang="en-US" altLang="zh-CN" sz="28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- </a:t>
            </a:r>
            <a:r>
              <a:rPr lang="zh-CN" altLang="en-US" sz="28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档案管理 </a:t>
            </a:r>
            <a:r>
              <a:rPr lang="en-US" altLang="zh-CN" sz="18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V1.0</a:t>
            </a:r>
            <a:endParaRPr lang="ko-KR" altLang="en-US" sz="1800" dirty="0">
              <a:latin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7814554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211BAA2-4BFC-47F2-8F77-B71FCDCC4897}" type="slidenum">
              <a:rPr lang="ko-KR" altLang="en-US" smtClean="0"/>
              <a:pPr>
                <a:defRPr/>
              </a:pPr>
              <a:t>2</a:t>
            </a:fld>
            <a:endParaRPr lang="en-US" altLang="ko-KR" dirty="0"/>
          </a:p>
        </p:txBody>
      </p:sp>
      <p:graphicFrame>
        <p:nvGraphicFramePr>
          <p:cNvPr id="8" name="表格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77742554"/>
              </p:ext>
            </p:extLst>
          </p:nvPr>
        </p:nvGraphicFramePr>
        <p:xfrm>
          <a:off x="731550" y="1222248"/>
          <a:ext cx="7668872" cy="946404"/>
        </p:xfrm>
        <a:graphic>
          <a:graphicData uri="http://schemas.openxmlformats.org/drawingml/2006/table">
            <a:tbl>
              <a:tblPr/>
              <a:tblGrid>
                <a:gridCol w="1639861"/>
                <a:gridCol w="6029011"/>
              </a:tblGrid>
              <a:tr h="252000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zh-CN" sz="1800" b="1" kern="100" dirty="0">
                          <a:effectLst/>
                          <a:latin typeface="Times New Roman"/>
                          <a:ea typeface="微软雅黑"/>
                          <a:cs typeface="Arial"/>
                        </a:rPr>
                        <a:t>文档名称</a:t>
                      </a:r>
                      <a:endParaRPr lang="zh-CN" sz="1800" kern="100" dirty="0">
                        <a:effectLst/>
                        <a:latin typeface="Times New Roman"/>
                        <a:ea typeface="华文仿宋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pattFill prst="pct10">
                      <a:fgClr>
                        <a:srgbClr val="FFFFFF"/>
                      </a:fgClr>
                      <a:bgClr>
                        <a:srgbClr val="E5E5E5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zh-CN" sz="1800" b="1" kern="100" dirty="0">
                          <a:effectLst/>
                          <a:latin typeface="Times New Roman"/>
                          <a:ea typeface="微软雅黑"/>
                          <a:cs typeface="Arial"/>
                        </a:rPr>
                        <a:t>操作手册</a:t>
                      </a:r>
                      <a:endParaRPr lang="zh-CN" sz="1800" kern="100" dirty="0">
                        <a:effectLst/>
                        <a:latin typeface="Times New Roman"/>
                        <a:ea typeface="华文仿宋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pattFill prst="pct10">
                      <a:fgClr>
                        <a:srgbClr val="FFFFFF"/>
                      </a:fgClr>
                      <a:bgClr>
                        <a:srgbClr val="E5E5E5"/>
                      </a:bgClr>
                    </a:pattFill>
                  </a:tcPr>
                </a:tc>
              </a:tr>
              <a:tr h="252000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zh-CN" sz="1800" b="1" kern="100">
                          <a:effectLst/>
                          <a:latin typeface="Times New Roman"/>
                          <a:ea typeface="微软雅黑"/>
                          <a:cs typeface="Arial"/>
                        </a:rPr>
                        <a:t>文档代码</a:t>
                      </a:r>
                      <a:endParaRPr lang="zh-CN" sz="1800" kern="100">
                        <a:effectLst/>
                        <a:latin typeface="Times New Roman"/>
                        <a:ea typeface="华文仿宋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pattFill prst="pct10">
                      <a:fgClr>
                        <a:srgbClr val="FFFFFF"/>
                      </a:fgClr>
                      <a:bgClr>
                        <a:srgbClr val="E5E5E5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altLang="zh-CN" sz="1800" b="1" kern="0" baseline="0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微软雅黑"/>
                          <a:cs typeface="宋体"/>
                        </a:rPr>
                        <a:t>PDMS_01</a:t>
                      </a:r>
                      <a:endParaRPr lang="zh-CN" sz="1800" kern="100" dirty="0">
                        <a:effectLst/>
                        <a:latin typeface="Times New Roman"/>
                        <a:ea typeface="华文仿宋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pattFill prst="pct10">
                      <a:fgClr>
                        <a:srgbClr val="FFFFFF"/>
                      </a:fgClr>
                      <a:bgClr>
                        <a:srgbClr val="E5E5E5"/>
                      </a:bgClr>
                    </a:pattFill>
                  </a:tcPr>
                </a:tc>
              </a:tr>
              <a:tr h="252000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zh-CN" sz="1800" b="1" kern="100">
                          <a:effectLst/>
                          <a:latin typeface="Times New Roman"/>
                          <a:ea typeface="微软雅黑"/>
                          <a:cs typeface="Arial"/>
                        </a:rPr>
                        <a:t>文档描述</a:t>
                      </a:r>
                      <a:endParaRPr lang="zh-CN" sz="1800" kern="100">
                        <a:effectLst/>
                        <a:latin typeface="Times New Roman"/>
                        <a:ea typeface="华文仿宋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pattFill prst="pct10">
                      <a:fgClr>
                        <a:srgbClr val="FFFFFF"/>
                      </a:fgClr>
                      <a:bgClr>
                        <a:srgbClr val="E5E5E5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altLang="zh-CN" sz="1800" b="1" kern="100" dirty="0" err="1" smtClean="0">
                          <a:solidFill>
                            <a:schemeClr val="tx1"/>
                          </a:solidFill>
                          <a:effectLst/>
                          <a:latin typeface="Times New Roman"/>
                          <a:ea typeface="微软雅黑"/>
                          <a:cs typeface="Arial"/>
                        </a:rPr>
                        <a:t>PDMS_Guide</a:t>
                      </a:r>
                      <a:endParaRPr lang="zh-CN" sz="1800" b="1" kern="1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微软雅黑"/>
                        <a:cs typeface="Arial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pattFill prst="pct10">
                      <a:fgClr>
                        <a:srgbClr val="FFFFFF"/>
                      </a:fgClr>
                      <a:bgClr>
                        <a:srgbClr val="E5E5E5"/>
                      </a:bgClr>
                    </a:pattFill>
                  </a:tcPr>
                </a:tc>
              </a:tr>
            </a:tbl>
          </a:graphicData>
        </a:graphic>
      </p:graphicFrame>
      <p:graphicFrame>
        <p:nvGraphicFramePr>
          <p:cNvPr id="9" name="表格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64499816"/>
              </p:ext>
            </p:extLst>
          </p:nvPr>
        </p:nvGraphicFramePr>
        <p:xfrm>
          <a:off x="731550" y="2807730"/>
          <a:ext cx="10846368" cy="1811258"/>
        </p:xfrm>
        <a:graphic>
          <a:graphicData uri="http://schemas.openxmlformats.org/drawingml/2006/table">
            <a:tbl>
              <a:tblPr/>
              <a:tblGrid>
                <a:gridCol w="1048551"/>
                <a:gridCol w="1386845"/>
                <a:gridCol w="7267972"/>
                <a:gridCol w="1143000"/>
              </a:tblGrid>
              <a:tr h="252000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zh-CN" sz="1200" b="1" kern="100" dirty="0">
                          <a:effectLst/>
                          <a:latin typeface="Times New Roman"/>
                          <a:ea typeface="微软雅黑"/>
                          <a:cs typeface="Arial"/>
                        </a:rPr>
                        <a:t>修改日期</a:t>
                      </a:r>
                      <a:endParaRPr lang="zh-CN" sz="1200" kern="100" dirty="0">
                        <a:effectLst/>
                        <a:latin typeface="Times New Roman"/>
                        <a:ea typeface="华文仿宋"/>
                      </a:endParaRPr>
                    </a:p>
                  </a:txBody>
                  <a:tcPr marL="37059" marR="37059" marT="0" marB="0" anchor="ctr">
                    <a:lnL>
                      <a:noFill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pattFill prst="pct10">
                      <a:fgClr>
                        <a:srgbClr val="FFFFFF"/>
                      </a:fgClr>
                      <a:bgClr>
                        <a:srgbClr val="E5E5E5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zh-CN" sz="1200" b="1" kern="100" dirty="0">
                          <a:effectLst/>
                          <a:latin typeface="Times New Roman"/>
                          <a:ea typeface="微软雅黑"/>
                          <a:cs typeface="Arial"/>
                        </a:rPr>
                        <a:t>版本</a:t>
                      </a:r>
                      <a:endParaRPr lang="zh-CN" sz="1200" kern="100" dirty="0">
                        <a:effectLst/>
                        <a:latin typeface="Times New Roman"/>
                        <a:ea typeface="华文仿宋"/>
                      </a:endParaRPr>
                    </a:p>
                  </a:txBody>
                  <a:tcPr marL="37059" marR="37059" marT="0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pattFill prst="pct10">
                      <a:fgClr>
                        <a:srgbClr val="FFFFFF"/>
                      </a:fgClr>
                      <a:bgClr>
                        <a:srgbClr val="E5E5E5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zh-CN" sz="1200" b="1" kern="100" dirty="0">
                          <a:effectLst/>
                          <a:latin typeface="Times New Roman"/>
                          <a:ea typeface="微软雅黑"/>
                          <a:cs typeface="Arial"/>
                        </a:rPr>
                        <a:t>描述</a:t>
                      </a:r>
                      <a:endParaRPr lang="zh-CN" sz="1200" kern="100" dirty="0">
                        <a:effectLst/>
                        <a:latin typeface="Times New Roman"/>
                        <a:ea typeface="华文仿宋"/>
                      </a:endParaRPr>
                    </a:p>
                  </a:txBody>
                  <a:tcPr marL="37059" marR="37059" marT="0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pattFill prst="pct10">
                      <a:fgClr>
                        <a:srgbClr val="FFFFFF"/>
                      </a:fgClr>
                      <a:bgClr>
                        <a:srgbClr val="E5E5E5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zh-CN" sz="1200" b="1" kern="100">
                          <a:effectLst/>
                          <a:latin typeface="Times New Roman"/>
                          <a:ea typeface="微软雅黑"/>
                          <a:cs typeface="Arial"/>
                        </a:rPr>
                        <a:t>作者</a:t>
                      </a:r>
                      <a:endParaRPr lang="zh-CN" sz="1200" kern="100">
                        <a:effectLst/>
                        <a:latin typeface="Times New Roman"/>
                        <a:ea typeface="华文仿宋"/>
                      </a:endParaRPr>
                    </a:p>
                  </a:txBody>
                  <a:tcPr marL="37059" marR="37059" marT="0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pattFill prst="pct10">
                      <a:fgClr>
                        <a:srgbClr val="FFFFFF"/>
                      </a:fgClr>
                      <a:bgClr>
                        <a:srgbClr val="E5E5E5"/>
                      </a:bgClr>
                    </a:pattFill>
                  </a:tcPr>
                </a:tc>
              </a:tr>
              <a:tr h="252000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 b="1" kern="100" dirty="0" smtClean="0">
                          <a:effectLst/>
                          <a:latin typeface="微软雅黑" pitchFamily="34" charset="-122"/>
                          <a:ea typeface="微软雅黑" pitchFamily="34" charset="-122"/>
                          <a:cs typeface="Arial"/>
                        </a:rPr>
                        <a:t>2018-05-01</a:t>
                      </a:r>
                      <a:endParaRPr lang="zh-CN" sz="1200" kern="100" dirty="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37059" marR="37059" marT="0" marB="0" anchor="ctr">
                    <a:lnL>
                      <a:noFill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 b="0" kern="100" dirty="0">
                          <a:effectLst/>
                          <a:latin typeface="微软雅黑" pitchFamily="34" charset="-122"/>
                          <a:ea typeface="微软雅黑" pitchFamily="34" charset="-122"/>
                          <a:cs typeface="Arial"/>
                        </a:rPr>
                        <a:t>V1.0</a:t>
                      </a:r>
                      <a:endParaRPr lang="zh-CN" sz="1200" b="0" kern="100" dirty="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37059" marR="37059" marT="0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zh-CN" altLang="en-US" sz="1200" b="0" kern="1200" dirty="0" smtClean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档案登记、档案查询、档案模版打印</a:t>
                      </a:r>
                      <a:endParaRPr lang="zh-CN" sz="1200" b="0" kern="100" dirty="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37059" marR="37059" marT="0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zh-CN" sz="1200" b="0" kern="100" dirty="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37059" marR="37059" marT="0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2000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zh-CN" sz="1200" kern="100" dirty="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37059" marR="37059" marT="0" marB="0" anchor="ctr">
                    <a:lnL>
                      <a:noFill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zh-CN" sz="1200" b="0" kern="100" dirty="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37059" marR="37059" marT="0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zh-CN" sz="1200" b="0" kern="100" dirty="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37059" marR="37059" marT="0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zh-CN" sz="1200" b="0" kern="100" dirty="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37059" marR="37059" marT="0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2000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zh-CN" sz="1200" kern="100" dirty="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37059" marR="37059" marT="0" marB="0" anchor="ctr">
                    <a:lnL>
                      <a:noFill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zh-CN" sz="1200" kern="100" dirty="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37059" marR="37059" marT="0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zh-CN" sz="1200" kern="100" dirty="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37059" marR="37059" marT="0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zh-CN" sz="1200" kern="100" dirty="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37059" marR="37059" marT="0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2000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zh-CN" sz="1200" kern="100" dirty="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37059" marR="37059" marT="0" marB="0" anchor="ctr">
                    <a:lnL>
                      <a:noFill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zh-CN" sz="1200" kern="10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37059" marR="37059" marT="0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zh-CN" sz="1200" kern="100" dirty="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37059" marR="37059" marT="0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zh-CN" sz="1200" kern="100" dirty="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37059" marR="37059" marT="0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40946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zh-CN" sz="1200" kern="10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37059" marR="37059" marT="0" marB="0" anchor="ctr">
                    <a:lnL>
                      <a:noFill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zh-CN" sz="1200" kern="10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37059" marR="37059" marT="0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zh-CN" sz="1200" kern="100" dirty="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37059" marR="37059" marT="0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zh-CN" sz="1200" kern="100" dirty="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37059" marR="37059" marT="0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85237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 b="1" kern="100">
                          <a:effectLst/>
                          <a:latin typeface="微软雅黑"/>
                          <a:ea typeface="华文仿宋"/>
                          <a:cs typeface="Arial"/>
                        </a:rPr>
                        <a:t> </a:t>
                      </a:r>
                      <a:endParaRPr lang="zh-CN" sz="1200" kern="100">
                        <a:effectLst/>
                        <a:latin typeface="Times New Roman"/>
                        <a:ea typeface="华文仿宋"/>
                      </a:endParaRPr>
                    </a:p>
                  </a:txBody>
                  <a:tcPr marL="37059" marR="37059" marT="0" marB="0" anchor="ctr">
                    <a:lnL>
                      <a:noFill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 b="1" kern="100" dirty="0">
                          <a:effectLst/>
                          <a:latin typeface="微软雅黑"/>
                          <a:ea typeface="华文仿宋"/>
                          <a:cs typeface="Arial"/>
                        </a:rPr>
                        <a:t> </a:t>
                      </a:r>
                      <a:endParaRPr lang="zh-CN" sz="1200" kern="100" dirty="0">
                        <a:effectLst/>
                        <a:latin typeface="Times New Roman"/>
                        <a:ea typeface="华文仿宋"/>
                      </a:endParaRPr>
                    </a:p>
                  </a:txBody>
                  <a:tcPr marL="37059" marR="37059" marT="0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 b="1" kern="100">
                          <a:effectLst/>
                          <a:latin typeface="微软雅黑"/>
                          <a:ea typeface="华文仿宋"/>
                          <a:cs typeface="Arial"/>
                        </a:rPr>
                        <a:t> </a:t>
                      </a:r>
                      <a:endParaRPr lang="zh-CN" sz="1200" kern="100">
                        <a:effectLst/>
                        <a:latin typeface="Times New Roman"/>
                        <a:ea typeface="华文仿宋"/>
                      </a:endParaRPr>
                    </a:p>
                  </a:txBody>
                  <a:tcPr marL="37059" marR="37059" marT="0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 b="1" kern="100" dirty="0">
                          <a:effectLst/>
                          <a:latin typeface="微软雅黑"/>
                          <a:ea typeface="华文仿宋"/>
                          <a:cs typeface="Arial"/>
                        </a:rPr>
                        <a:t> </a:t>
                      </a:r>
                      <a:endParaRPr lang="zh-CN" sz="1200" kern="100" dirty="0">
                        <a:effectLst/>
                        <a:latin typeface="Times New Roman"/>
                        <a:ea typeface="华文仿宋"/>
                      </a:endParaRPr>
                    </a:p>
                  </a:txBody>
                  <a:tcPr marL="37059" marR="37059" marT="0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654539" y="214291"/>
            <a:ext cx="11228786" cy="496869"/>
          </a:xfrm>
        </p:spPr>
        <p:txBody>
          <a:bodyPr/>
          <a:lstStyle/>
          <a:p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文档控制</a:t>
            </a:r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_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版本信息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931329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4539" y="214291"/>
            <a:ext cx="11228786" cy="496869"/>
          </a:xfrm>
        </p:spPr>
        <p:txBody>
          <a:bodyPr/>
          <a:lstStyle/>
          <a:p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概述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9405815" y="6597650"/>
            <a:ext cx="2633488" cy="122238"/>
          </a:xfrm>
        </p:spPr>
        <p:txBody>
          <a:bodyPr/>
          <a:lstStyle/>
          <a:p>
            <a:pPr>
              <a:defRPr/>
            </a:pPr>
            <a:fld id="{1211BAA2-4BFC-47F2-8F77-B71FCDCC4897}" type="slidenum">
              <a:rPr lang="ko-KR" altLang="en-US" smtClean="0">
                <a:latin typeface="微软雅黑" panose="020B0503020204020204" pitchFamily="34" charset="-122"/>
              </a:rPr>
              <a:pPr>
                <a:defRPr/>
              </a:pPr>
              <a:t>3</a:t>
            </a:fld>
            <a:endParaRPr lang="en-US" altLang="ko-KR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3291840" y="1540398"/>
            <a:ext cx="8233854" cy="4906666"/>
          </a:xfrm>
        </p:spPr>
        <p:txBody>
          <a:bodyPr>
            <a:normAutofit/>
          </a:bodyPr>
          <a:lstStyle/>
          <a:p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档案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管理  </a:t>
            </a:r>
            <a:endParaRPr lang="en-US" altLang="zh-CN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0"/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业务流程：</a:t>
            </a:r>
            <a:endParaRPr lang="en-US" altLang="zh-CN" dirty="0" smtClean="0">
              <a:latin typeface="微软雅黑" pitchFamily="34" charset="-122"/>
              <a:ea typeface="微软雅黑" pitchFamily="34" charset="-122"/>
            </a:endParaRPr>
          </a:p>
          <a:p>
            <a:pPr marL="0" lvl="0" indent="0">
              <a:buNone/>
            </a:pPr>
            <a:r>
              <a:rPr lang="en-US" altLang="zh-CN" dirty="0">
                <a:latin typeface="微软雅黑" pitchFamily="34" charset="-122"/>
                <a:ea typeface="微软雅黑" pitchFamily="34" charset="-122"/>
              </a:rPr>
              <a:t>	</a:t>
            </a:r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1. 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通过</a:t>
            </a:r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《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档案登记</a:t>
            </a:r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》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提交</a:t>
            </a:r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,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查询登记履历</a:t>
            </a:r>
            <a:endParaRPr lang="en-US" altLang="zh-CN" dirty="0" smtClean="0">
              <a:latin typeface="微软雅黑" pitchFamily="34" charset="-122"/>
              <a:ea typeface="微软雅黑" pitchFamily="34" charset="-122"/>
            </a:endParaRPr>
          </a:p>
          <a:p>
            <a:pPr marL="0" indent="0">
              <a:buNone/>
            </a:pPr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	2. 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通过</a:t>
            </a:r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《</a:t>
            </a:r>
            <a:r>
              <a:rPr lang="en-US" altLang="zh-CN" dirty="0">
                <a:latin typeface="微软雅黑" pitchFamily="34" charset="-122"/>
                <a:ea typeface="微软雅黑" pitchFamily="34" charset="-122"/>
              </a:rPr>
              <a:t>Workplace</a:t>
            </a:r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》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进行审批、取消审批</a:t>
            </a:r>
            <a:endParaRPr lang="en-US" altLang="zh-CN" dirty="0" smtClean="0">
              <a:latin typeface="微软雅黑" pitchFamily="34" charset="-122"/>
              <a:ea typeface="微软雅黑" pitchFamily="34" charset="-122"/>
            </a:endParaRPr>
          </a:p>
          <a:p>
            <a:pPr marL="0" indent="0">
              <a:buNone/>
            </a:pPr>
            <a:r>
              <a:rPr lang="en-US" altLang="zh-CN" dirty="0">
                <a:latin typeface="微软雅黑" pitchFamily="34" charset="-122"/>
                <a:ea typeface="微软雅黑" pitchFamily="34" charset="-122"/>
              </a:rPr>
              <a:t>	</a:t>
            </a:r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3. 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通过</a:t>
            </a:r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《</a:t>
            </a:r>
            <a:r>
              <a:rPr lang="zh-CN" altLang="en-US" dirty="0">
                <a:latin typeface="微软雅黑" pitchFamily="34" charset="-122"/>
                <a:ea typeface="微软雅黑" pitchFamily="34" charset="-122"/>
              </a:rPr>
              <a:t>档案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查询</a:t>
            </a:r>
            <a:r>
              <a:rPr lang="en-US" altLang="zh-CN" dirty="0">
                <a:latin typeface="微软雅黑" pitchFamily="34" charset="-122"/>
                <a:ea typeface="微软雅黑" pitchFamily="34" charset="-122"/>
              </a:rPr>
              <a:t>》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查询档案信息、打印浏览页面，档案打印等功能</a:t>
            </a:r>
            <a:endParaRPr lang="zh-CN" altLang="zh-CN" dirty="0"/>
          </a:p>
          <a:p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以下进行详细的说明：</a:t>
            </a:r>
            <a:endParaRPr lang="en-US" altLang="zh-CN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indent="0">
              <a:buNone/>
            </a:pP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	</a:t>
            </a:r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《》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：画面</a:t>
            </a:r>
            <a:endParaRPr lang="en-US" altLang="zh-CN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indent="0">
              <a:buNone/>
            </a:pP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	</a:t>
            </a:r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【】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：功能键、按钮</a:t>
            </a:r>
            <a:endParaRPr lang="en-US" altLang="zh-CN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indent="0">
              <a:buNone/>
            </a:pPr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	  []   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可输入字段</a:t>
            </a:r>
            <a:endParaRPr lang="en-US" altLang="zh-CN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indent="0">
              <a:buNone/>
            </a:pP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	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“”：显示字段</a:t>
            </a:r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       </a:t>
            </a:r>
          </a:p>
          <a:p>
            <a:pPr marL="0" indent="0">
              <a:buNone/>
            </a:pPr>
            <a:endParaRPr lang="en-US" altLang="zh-CN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638603" y="839972"/>
            <a:ext cx="45063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/>
              <a:t>URL:  </a:t>
            </a:r>
            <a:r>
              <a:rPr lang="en-US" altLang="zh-CN" dirty="0" smtClean="0">
                <a:hlinkClick r:id="rId2"/>
              </a:rPr>
              <a:t>http://localhost:8080/pdms/index.jsp</a:t>
            </a:r>
            <a:endParaRPr lang="zh-CN" altLang="en-US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8603" y="1624012"/>
            <a:ext cx="2066925" cy="3609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7499175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表格 2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25475585"/>
              </p:ext>
            </p:extLst>
          </p:nvPr>
        </p:nvGraphicFramePr>
        <p:xfrm>
          <a:off x="467819" y="1517028"/>
          <a:ext cx="3870936" cy="463922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17711"/>
                <a:gridCol w="1953225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500" dirty="0" smtClean="0">
                          <a:solidFill>
                            <a:schemeClr val="tx1"/>
                          </a:solidFill>
                          <a:latin typeface="Noto Sans CJK SC Regular" pitchFamily="34" charset="-122"/>
                          <a:ea typeface="Noto Sans CJK SC Regular" pitchFamily="34" charset="-122"/>
                        </a:rPr>
                        <a:t>登记者</a:t>
                      </a:r>
                      <a:endParaRPr lang="zh-CN" altLang="en-US" sz="1500" dirty="0">
                        <a:solidFill>
                          <a:schemeClr val="tx1"/>
                        </a:solidFill>
                        <a:latin typeface="Noto Sans CJK SC Regular" pitchFamily="34" charset="-122"/>
                        <a:ea typeface="Noto Sans CJK SC Regular" pitchFamily="34" charset="-122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500" dirty="0" smtClean="0">
                          <a:solidFill>
                            <a:schemeClr val="tx1"/>
                          </a:solidFill>
                          <a:latin typeface="Noto Sans CJK SC Regular" pitchFamily="34" charset="-122"/>
                          <a:ea typeface="Noto Sans CJK SC Regular" pitchFamily="34" charset="-122"/>
                        </a:rPr>
                        <a:t>审批者</a:t>
                      </a:r>
                      <a:endParaRPr lang="zh-CN" altLang="en-US" sz="1500" dirty="0">
                        <a:solidFill>
                          <a:schemeClr val="tx1"/>
                        </a:solidFill>
                        <a:latin typeface="Noto Sans CJK SC Regular" pitchFamily="34" charset="-122"/>
                        <a:ea typeface="Noto Sans CJK SC Regular" pitchFamily="34" charset="-122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268388"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211BAA2-4BFC-47F2-8F77-B71FCDCC4897}" type="slidenum">
              <a:rPr lang="ko-KR" altLang="en-US" smtClean="0"/>
              <a:pPr>
                <a:defRPr/>
              </a:pPr>
              <a:t>4</a:t>
            </a:fld>
            <a:endParaRPr lang="en-US" altLang="ko-KR" dirty="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54539" y="214291"/>
            <a:ext cx="11228786" cy="496869"/>
          </a:xfrm>
        </p:spPr>
        <p:txBody>
          <a:bodyPr/>
          <a:lstStyle/>
          <a:p>
            <a:r>
              <a:rPr lang="zh-CN" altLang="en-US" dirty="0" smtClean="0"/>
              <a:t>档案管理</a:t>
            </a:r>
            <a:r>
              <a:rPr lang="en-US" altLang="zh-CN" dirty="0" smtClean="0"/>
              <a:t>_</a:t>
            </a:r>
            <a:r>
              <a:rPr lang="en-US" altLang="zh-CN" dirty="0" smtClean="0"/>
              <a:t>Process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内容占位符 2"/>
          <p:cNvSpPr>
            <a:spLocks noGrp="1"/>
          </p:cNvSpPr>
          <p:nvPr>
            <p:ph idx="1"/>
          </p:nvPr>
        </p:nvSpPr>
        <p:spPr>
          <a:xfrm>
            <a:off x="659557" y="803382"/>
            <a:ext cx="10892692" cy="621375"/>
          </a:xfrm>
        </p:spPr>
        <p:txBody>
          <a:bodyPr>
            <a:normAutofit/>
          </a:bodyPr>
          <a:lstStyle/>
          <a:p>
            <a:r>
              <a:rPr lang="en-US" altLang="zh-CN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PDMS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系统对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退役军人档案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高效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管理及时应对，达到业务科学化高效化。</a:t>
            </a:r>
            <a:endParaRPr lang="zh-CN" altLang="en-US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8" name="直接连接符 7"/>
          <p:cNvCxnSpPr/>
          <p:nvPr/>
        </p:nvCxnSpPr>
        <p:spPr bwMode="auto">
          <a:xfrm>
            <a:off x="9108044" y="1760869"/>
            <a:ext cx="2376000" cy="158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TextBox 9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9142242" y="1470357"/>
            <a:ext cx="2257425" cy="292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>
              <a:defRPr/>
            </a:pPr>
            <a:r>
              <a:rPr kumimoji="0" lang="zh-CN" altLang="en-US" sz="1300" b="1" dirty="0" smtClean="0">
                <a:latin typeface="微软雅黑" pitchFamily="34" charset="-122"/>
                <a:ea typeface="微软雅黑" pitchFamily="34" charset="-122"/>
              </a:rPr>
              <a:t>说明</a:t>
            </a:r>
            <a:endParaRPr kumimoji="0" lang="ko-KR" altLang="en-US" sz="1300" b="1" dirty="0">
              <a:latin typeface="微软雅黑" pitchFamily="34" charset="-122"/>
              <a:ea typeface="윤고딕130" pitchFamily="18" charset="-127"/>
            </a:endParaRPr>
          </a:p>
        </p:txBody>
      </p:sp>
      <p:sp>
        <p:nvSpPr>
          <p:cNvPr id="11" name="TextBox 5"/>
          <p:cNvSpPr txBox="1">
            <a:spLocks noChangeArrowheads="1"/>
          </p:cNvSpPr>
          <p:nvPr/>
        </p:nvSpPr>
        <p:spPr bwMode="auto">
          <a:xfrm>
            <a:off x="9120207" y="1901821"/>
            <a:ext cx="2703197" cy="19389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kumimoji="1" sz="1400">
                <a:solidFill>
                  <a:schemeClr val="tx1"/>
                </a:solidFill>
                <a:latin typeface="Arial" pitchFamily="34" charset="0"/>
                <a:ea typeface="굴림" pitchFamily="34" charset="-127"/>
              </a:defRPr>
            </a:lvl1pPr>
            <a:lvl2pPr marL="742950" indent="-285750" eaLnBrk="0" hangingPunct="0">
              <a:defRPr kumimoji="1" sz="1400">
                <a:solidFill>
                  <a:schemeClr val="tx1"/>
                </a:solidFill>
                <a:latin typeface="Arial" pitchFamily="34" charset="0"/>
                <a:ea typeface="굴림" pitchFamily="34" charset="-127"/>
              </a:defRPr>
            </a:lvl2pPr>
            <a:lvl3pPr marL="1143000" indent="-228600" eaLnBrk="0" hangingPunct="0">
              <a:defRPr kumimoji="1" sz="1400">
                <a:solidFill>
                  <a:schemeClr val="tx1"/>
                </a:solidFill>
                <a:latin typeface="Arial" pitchFamily="34" charset="0"/>
                <a:ea typeface="굴림" pitchFamily="34" charset="-127"/>
              </a:defRPr>
            </a:lvl3pPr>
            <a:lvl4pPr marL="1600200" indent="-228600" eaLnBrk="0" hangingPunct="0">
              <a:defRPr kumimoji="1" sz="1400">
                <a:solidFill>
                  <a:schemeClr val="tx1"/>
                </a:solidFill>
                <a:latin typeface="Arial" pitchFamily="34" charset="0"/>
                <a:ea typeface="굴림" pitchFamily="34" charset="-127"/>
              </a:defRPr>
            </a:lvl4pPr>
            <a:lvl5pPr marL="2057400" indent="-228600" eaLnBrk="0" hangingPunct="0">
              <a:defRPr kumimoji="1" sz="1400">
                <a:solidFill>
                  <a:schemeClr val="tx1"/>
                </a:solidFill>
                <a:latin typeface="Arial" pitchFamily="34" charset="0"/>
                <a:ea typeface="굴림" pitchFamily="34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Arial" pitchFamily="34" charset="0"/>
                <a:ea typeface="굴림" pitchFamily="34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Arial" pitchFamily="34" charset="0"/>
                <a:ea typeface="굴림" pitchFamily="34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Arial" pitchFamily="34" charset="0"/>
                <a:ea typeface="굴림" pitchFamily="34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Arial" pitchFamily="34" charset="0"/>
                <a:ea typeface="굴림" pitchFamily="34" charset="-127"/>
              </a:defRPr>
            </a:lvl9pPr>
          </a:lstStyle>
          <a:p>
            <a:pPr marL="230187" lvl="1" indent="-228600" defTabSz="936625">
              <a:buFont typeface="+mj-lt"/>
              <a:buAutoNum type="arabicPeriod"/>
            </a:pPr>
            <a:r>
              <a:rPr lang="zh-CN" altLang="en-US" sz="1200" dirty="0" smtClean="0">
                <a:latin typeface="微软雅黑" pitchFamily="34" charset="-122"/>
                <a:ea typeface="微软雅黑" pitchFamily="34" charset="-122"/>
              </a:rPr>
              <a:t>登记者通过</a:t>
            </a:r>
            <a:r>
              <a:rPr lang="en-US" altLang="zh-CN" sz="1200" dirty="0">
                <a:latin typeface="微软雅黑" pitchFamily="34" charset="-122"/>
                <a:ea typeface="微软雅黑" pitchFamily="34" charset="-122"/>
              </a:rPr>
              <a:t>《</a:t>
            </a:r>
            <a:r>
              <a:rPr lang="zh-CN" altLang="en-US" sz="1200" dirty="0" smtClean="0">
                <a:latin typeface="微软雅黑" pitchFamily="34" charset="-122"/>
                <a:ea typeface="微软雅黑" pitchFamily="34" charset="-122"/>
              </a:rPr>
              <a:t>档案登记</a:t>
            </a:r>
            <a:r>
              <a:rPr lang="en-US" altLang="zh-CN" sz="1200" dirty="0" smtClean="0">
                <a:latin typeface="微软雅黑" pitchFamily="34" charset="-122"/>
                <a:ea typeface="微软雅黑" pitchFamily="34" charset="-122"/>
              </a:rPr>
              <a:t>》</a:t>
            </a:r>
            <a:r>
              <a:rPr lang="zh-CN" altLang="en-US" sz="1200" dirty="0" smtClean="0">
                <a:latin typeface="微软雅黑" pitchFamily="34" charset="-122"/>
                <a:ea typeface="微软雅黑" pitchFamily="34" charset="-122"/>
              </a:rPr>
              <a:t>画面登记档案</a:t>
            </a:r>
            <a:endParaRPr lang="en-US" altLang="zh-CN" sz="1200" dirty="0" smtClean="0">
              <a:latin typeface="微软雅黑" pitchFamily="34" charset="-122"/>
              <a:ea typeface="微软雅黑" pitchFamily="34" charset="-122"/>
            </a:endParaRPr>
          </a:p>
          <a:p>
            <a:pPr marL="230187" lvl="1" indent="-228600" defTabSz="936625">
              <a:buFont typeface="+mj-lt"/>
              <a:buAutoNum type="arabicPeriod"/>
            </a:pPr>
            <a:endParaRPr lang="en-US" altLang="zh-CN" sz="1200" dirty="0" smtClean="0">
              <a:latin typeface="微软雅黑" pitchFamily="34" charset="-122"/>
              <a:ea typeface="微软雅黑" pitchFamily="34" charset="-122"/>
            </a:endParaRPr>
          </a:p>
          <a:p>
            <a:pPr marL="230187" lvl="1" indent="-228600" defTabSz="936625">
              <a:buFont typeface="+mj-lt"/>
              <a:buAutoNum type="arabicPeriod"/>
            </a:pPr>
            <a:r>
              <a:rPr lang="zh-CN" altLang="en-US" sz="1200" dirty="0" smtClean="0">
                <a:latin typeface="微软雅黑" pitchFamily="34" charset="-122"/>
                <a:ea typeface="微软雅黑" pitchFamily="34" charset="-122"/>
              </a:rPr>
              <a:t>审批者对登记者登记的档案准确性进行审核</a:t>
            </a:r>
            <a:endParaRPr lang="en-US" altLang="zh-CN" sz="1200" dirty="0" smtClean="0">
              <a:latin typeface="微软雅黑" pitchFamily="34" charset="-122"/>
              <a:ea typeface="微软雅黑" pitchFamily="34" charset="-122"/>
            </a:endParaRPr>
          </a:p>
          <a:p>
            <a:pPr marL="230187" lvl="1" indent="-228600" defTabSz="936625">
              <a:buFont typeface="+mj-lt"/>
              <a:buAutoNum type="arabicPeriod"/>
            </a:pPr>
            <a:endParaRPr lang="en-US" altLang="zh-CN" sz="1200" dirty="0">
              <a:latin typeface="微软雅黑" pitchFamily="34" charset="-122"/>
              <a:ea typeface="微软雅黑" pitchFamily="34" charset="-122"/>
            </a:endParaRPr>
          </a:p>
          <a:p>
            <a:pPr marL="230187" lvl="1" indent="-228600" defTabSz="936625">
              <a:buFont typeface="+mj-lt"/>
              <a:buAutoNum type="arabicPeriod"/>
            </a:pPr>
            <a:r>
              <a:rPr lang="zh-CN" altLang="en-US" sz="1200" dirty="0" smtClean="0">
                <a:latin typeface="微软雅黑" pitchFamily="34" charset="-122"/>
                <a:ea typeface="微软雅黑" pitchFamily="34" charset="-122"/>
              </a:rPr>
              <a:t>档案查询已审核档案</a:t>
            </a:r>
            <a:endParaRPr lang="en-US" altLang="zh-CN" sz="1200" dirty="0" smtClean="0">
              <a:latin typeface="微软雅黑" pitchFamily="34" charset="-122"/>
              <a:ea typeface="微软雅黑" pitchFamily="34" charset="-122"/>
            </a:endParaRPr>
          </a:p>
          <a:p>
            <a:pPr marL="230187" lvl="1" indent="-228600" defTabSz="936625">
              <a:buFont typeface="+mj-lt"/>
              <a:buAutoNum type="arabicPeriod"/>
            </a:pPr>
            <a:endParaRPr lang="en-US" altLang="zh-CN" sz="1200" dirty="0">
              <a:latin typeface="微软雅黑" pitchFamily="34" charset="-122"/>
              <a:ea typeface="微软雅黑" pitchFamily="34" charset="-122"/>
            </a:endParaRPr>
          </a:p>
          <a:p>
            <a:pPr marL="1587" lvl="1" indent="0" defTabSz="936625"/>
            <a:endParaRPr lang="en-US" altLang="zh-CN" sz="1200" dirty="0" smtClean="0">
              <a:latin typeface="微软雅黑" pitchFamily="34" charset="-122"/>
              <a:ea typeface="微软雅黑" pitchFamily="34" charset="-122"/>
            </a:endParaRPr>
          </a:p>
          <a:p>
            <a:pPr marL="230187" lvl="1" indent="-228600" defTabSz="936625">
              <a:buFont typeface="+mj-lt"/>
              <a:buAutoNum type="arabicPeriod" startAt="2"/>
            </a:pPr>
            <a:endParaRPr lang="en-US" altLang="zh-CN" sz="1200" dirty="0" smtClean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786809" y="2943566"/>
            <a:ext cx="1080000" cy="276999"/>
          </a:xfrm>
          <a:prstGeom prst="rect">
            <a:avLst/>
          </a:prstGeom>
          <a:ln w="12700">
            <a:solidFill>
              <a:schemeClr val="tx1"/>
            </a:solidFill>
          </a:ln>
        </p:spPr>
        <p:txBody>
          <a:bodyPr rtlCol="0" anchor="ctr">
            <a:spAutoFit/>
          </a:bodyPr>
          <a:lstStyle/>
          <a:p>
            <a:pPr algn="ctr"/>
            <a:r>
              <a:rPr lang="zh-CN" altLang="en-US" sz="1200" dirty="0" smtClean="0">
                <a:latin typeface="Noto Sans CJK SC Regular" pitchFamily="34" charset="-122"/>
                <a:ea typeface="Noto Sans CJK SC Regular" pitchFamily="34" charset="-122"/>
              </a:rPr>
              <a:t>档案登记</a:t>
            </a:r>
            <a:endParaRPr lang="zh-CN" altLang="en-US" sz="1200" dirty="0">
              <a:latin typeface="Noto Sans CJK SC Regular" pitchFamily="34" charset="-122"/>
              <a:ea typeface="Noto Sans CJK SC Regular" pitchFamily="34" charset="-122"/>
            </a:endParaRPr>
          </a:p>
        </p:txBody>
      </p:sp>
      <p:sp>
        <p:nvSpPr>
          <p:cNvPr id="12" name="流程图: 决策 11"/>
          <p:cNvSpPr/>
          <p:nvPr/>
        </p:nvSpPr>
        <p:spPr>
          <a:xfrm>
            <a:off x="2805964" y="2624138"/>
            <a:ext cx="1296000" cy="917079"/>
          </a:xfrm>
          <a:prstGeom prst="flowChartDecision">
            <a:avLst/>
          </a:prstGeom>
          <a:ln>
            <a:solidFill>
              <a:schemeClr val="tx1"/>
            </a:solidFill>
          </a:ln>
        </p:spPr>
        <p:txBody>
          <a:bodyPr rtlCol="0" anchor="ctr">
            <a:spAutoFit/>
          </a:bodyPr>
          <a:lstStyle/>
          <a:p>
            <a:pPr algn="ctr"/>
            <a:r>
              <a:rPr lang="zh-CN" altLang="en-US" sz="1200" dirty="0">
                <a:latin typeface="Noto Sans CJK SC Regular" pitchFamily="34" charset="-122"/>
                <a:ea typeface="Noto Sans CJK SC Regular" pitchFamily="34" charset="-122"/>
              </a:rPr>
              <a:t>档案</a:t>
            </a:r>
            <a:endParaRPr lang="en-US" altLang="zh-CN" sz="1200" dirty="0" smtClean="0">
              <a:latin typeface="Noto Sans CJK SC Regular" pitchFamily="34" charset="-122"/>
              <a:ea typeface="Noto Sans CJK SC Regular" pitchFamily="34" charset="-122"/>
            </a:endParaRPr>
          </a:p>
          <a:p>
            <a:pPr algn="ctr"/>
            <a:r>
              <a:rPr lang="zh-CN" altLang="en-US" sz="1200" dirty="0" smtClean="0">
                <a:latin typeface="Noto Sans CJK SC Regular" pitchFamily="34" charset="-122"/>
                <a:ea typeface="Noto Sans CJK SC Regular" pitchFamily="34" charset="-122"/>
              </a:rPr>
              <a:t>审批</a:t>
            </a:r>
            <a:endParaRPr lang="zh-CN" altLang="en-US" sz="1200" dirty="0">
              <a:latin typeface="Noto Sans CJK SC Regular" pitchFamily="34" charset="-122"/>
              <a:ea typeface="Noto Sans CJK SC Regular" pitchFamily="34" charset="-122"/>
            </a:endParaRPr>
          </a:p>
        </p:txBody>
      </p:sp>
      <p:cxnSp>
        <p:nvCxnSpPr>
          <p:cNvPr id="16" name="直接箭头连接符 15"/>
          <p:cNvCxnSpPr>
            <a:stCxn id="3" idx="3"/>
            <a:endCxn id="12" idx="1"/>
          </p:cNvCxnSpPr>
          <p:nvPr/>
        </p:nvCxnSpPr>
        <p:spPr bwMode="auto">
          <a:xfrm>
            <a:off x="1866809" y="3082066"/>
            <a:ext cx="939155" cy="612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22" name="肘形连接符 21"/>
          <p:cNvCxnSpPr>
            <a:stCxn id="12" idx="0"/>
            <a:endCxn id="3" idx="0"/>
          </p:cNvCxnSpPr>
          <p:nvPr/>
        </p:nvCxnSpPr>
        <p:spPr bwMode="auto">
          <a:xfrm rot="16200000" flipH="1" flipV="1">
            <a:off x="2230673" y="1720274"/>
            <a:ext cx="319428" cy="2127155"/>
          </a:xfrm>
          <a:prstGeom prst="bentConnector3">
            <a:avLst>
              <a:gd name="adj1" fmla="val -71565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36" name="流程图: 终止 35"/>
          <p:cNvSpPr/>
          <p:nvPr/>
        </p:nvSpPr>
        <p:spPr>
          <a:xfrm>
            <a:off x="786809" y="5419239"/>
            <a:ext cx="1080000" cy="649188"/>
          </a:xfrm>
          <a:prstGeom prst="flowChartTerminator">
            <a:avLst/>
          </a:prstGeom>
          <a:ln>
            <a:solidFill>
              <a:schemeClr val="tx1"/>
            </a:solidFill>
          </a:ln>
        </p:spPr>
        <p:txBody>
          <a:bodyPr rtlCol="0" anchor="ctr">
            <a:spAutoFit/>
          </a:bodyPr>
          <a:lstStyle/>
          <a:p>
            <a:pPr algn="l"/>
            <a:r>
              <a:rPr lang="zh-CN" altLang="en-US" sz="1200" dirty="0" smtClean="0">
                <a:latin typeface="Noto Sans CJK SC Regular" pitchFamily="34" charset="-122"/>
                <a:ea typeface="Noto Sans CJK SC Regular" pitchFamily="34" charset="-122"/>
              </a:rPr>
              <a:t>档案查询、打印</a:t>
            </a:r>
            <a:endParaRPr lang="zh-CN" altLang="en-US" sz="1200" dirty="0">
              <a:latin typeface="Noto Sans CJK SC Regular" pitchFamily="34" charset="-122"/>
              <a:ea typeface="Noto Sans CJK SC Regular" pitchFamily="34" charset="-122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2995138" y="3533036"/>
            <a:ext cx="30489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400" dirty="0" smtClean="0"/>
              <a:t>Y</a:t>
            </a:r>
            <a:endParaRPr lang="zh-CN" altLang="en-US" sz="1400" dirty="0"/>
          </a:p>
        </p:txBody>
      </p:sp>
      <p:sp>
        <p:nvSpPr>
          <p:cNvPr id="43" name="TextBox 42"/>
          <p:cNvSpPr txBox="1"/>
          <p:nvPr/>
        </p:nvSpPr>
        <p:spPr>
          <a:xfrm>
            <a:off x="3142775" y="2409652"/>
            <a:ext cx="31451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400" dirty="0"/>
              <a:t>N</a:t>
            </a:r>
            <a:endParaRPr lang="zh-CN" altLang="en-US" sz="1400" dirty="0"/>
          </a:p>
        </p:txBody>
      </p:sp>
      <p:cxnSp>
        <p:nvCxnSpPr>
          <p:cNvPr id="5" name="肘形连接符 4"/>
          <p:cNvCxnSpPr>
            <a:stCxn id="12" idx="2"/>
            <a:endCxn id="36" idx="0"/>
          </p:cNvCxnSpPr>
          <p:nvPr/>
        </p:nvCxnSpPr>
        <p:spPr bwMode="auto">
          <a:xfrm rot="5400000">
            <a:off x="1451376" y="3416651"/>
            <a:ext cx="1878022" cy="2127155"/>
          </a:xfrm>
          <a:prstGeom prst="bentConnector3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40" name="TextBox 39"/>
          <p:cNvSpPr txBox="1"/>
          <p:nvPr/>
        </p:nvSpPr>
        <p:spPr>
          <a:xfrm>
            <a:off x="1616419" y="2102402"/>
            <a:ext cx="95410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sz="1200" dirty="0">
                <a:latin typeface="Noto Sans CJK SC Regular" pitchFamily="34" charset="-122"/>
                <a:ea typeface="Noto Sans CJK SC Regular" pitchFamily="34" charset="-122"/>
              </a:rPr>
              <a:t>修改再提交</a:t>
            </a:r>
            <a:endParaRPr lang="zh-CN" altLang="en-US" sz="1200" dirty="0">
              <a:latin typeface="Noto Sans CJK SC Regular" pitchFamily="34" charset="-122"/>
              <a:ea typeface="Noto Sans CJK SC Regular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230780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8613" y="2355590"/>
            <a:ext cx="11533187" cy="3848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211BAA2-4BFC-47F2-8F77-B71FCDCC4897}" type="slidenum">
              <a:rPr lang="ko-KR" altLang="en-US" smtClean="0"/>
              <a:pPr>
                <a:defRPr/>
              </a:pPr>
              <a:t>5</a:t>
            </a:fld>
            <a:endParaRPr lang="en-US" altLang="ko-KR" dirty="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54539" y="214291"/>
            <a:ext cx="11228786" cy="496869"/>
          </a:xfrm>
        </p:spPr>
        <p:txBody>
          <a:bodyPr/>
          <a:lstStyle/>
          <a:p>
            <a:r>
              <a:rPr lang="en-US" altLang="zh-CN" dirty="0" smtClean="0"/>
              <a:t>1-</a:t>
            </a:r>
            <a:r>
              <a:rPr lang="zh-CN" altLang="en-US" dirty="0" smtClean="0"/>
              <a:t>档案登记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2" name="表格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26067996"/>
              </p:ext>
            </p:extLst>
          </p:nvPr>
        </p:nvGraphicFramePr>
        <p:xfrm>
          <a:off x="506264" y="803069"/>
          <a:ext cx="11160000" cy="1321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82772"/>
                <a:gridCol w="7861254"/>
                <a:gridCol w="2315974"/>
              </a:tblGrid>
              <a:tr h="288000">
                <a:tc>
                  <a:txBody>
                    <a:bodyPr/>
                    <a:lstStyle/>
                    <a:p>
                      <a:r>
                        <a:rPr lang="zh-CN" altLang="en-US" sz="1200" dirty="0" smtClean="0">
                          <a:solidFill>
                            <a:schemeClr val="tx1"/>
                          </a:solidFill>
                        </a:rPr>
                        <a:t>作业类型</a:t>
                      </a:r>
                      <a:endParaRPr lang="zh-CN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200" dirty="0" smtClean="0">
                          <a:solidFill>
                            <a:schemeClr val="tx1"/>
                          </a:solidFill>
                        </a:rPr>
                        <a:t>操作</a:t>
                      </a:r>
                      <a:endParaRPr lang="zh-CN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200" dirty="0" smtClean="0">
                          <a:solidFill>
                            <a:schemeClr val="tx1"/>
                          </a:solidFill>
                        </a:rPr>
                        <a:t>前置条件</a:t>
                      </a:r>
                      <a:endParaRPr lang="zh-CN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zh-CN" altLang="en-US" sz="1200" dirty="0" smtClean="0">
                          <a:solidFill>
                            <a:schemeClr val="tx1"/>
                          </a:solidFill>
                        </a:rPr>
                        <a:t>新增档案</a:t>
                      </a:r>
                      <a:endParaRPr lang="zh-CN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点击</a:t>
                      </a:r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【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新增</a:t>
                      </a:r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】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，输入</a:t>
                      </a:r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[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姓名、性别、出生年月等信息），点击</a:t>
                      </a:r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【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上传附件</a:t>
                      </a:r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】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按钮上传档案文件，点击</a:t>
                      </a:r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【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下载附件</a:t>
                      </a:r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】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查看已上传附件</a:t>
                      </a:r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 ,【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保存</a:t>
                      </a:r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】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。保存失败时，请确认红色字段为必填项</a:t>
                      </a:r>
                      <a:endParaRPr lang="en-US" altLang="zh-CN" sz="1200" dirty="0" smtClean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zh-CN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8000">
                <a:tc>
                  <a:txBody>
                    <a:bodyPr/>
                    <a:lstStyle/>
                    <a:p>
                      <a:r>
                        <a:rPr lang="zh-CN" altLang="en-US" sz="1200" dirty="0" smtClean="0">
                          <a:solidFill>
                            <a:schemeClr val="tx1"/>
                          </a:solidFill>
                        </a:rPr>
                        <a:t>邀请审批</a:t>
                      </a:r>
                      <a:endParaRPr lang="zh-CN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kern="1200" dirty="0" smtClean="0">
                          <a:solidFill>
                            <a:schemeClr val="dk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点击</a:t>
                      </a:r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【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提交</a:t>
                      </a:r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】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管理员在</a:t>
                      </a:r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Workplace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中待审批内容进行审批</a:t>
                      </a:r>
                      <a:endParaRPr lang="en-US" altLang="zh-CN" sz="1200" dirty="0" smtClean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200" kern="1200" dirty="0" smtClean="0">
                          <a:solidFill>
                            <a:schemeClr val="dk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双击列表中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“待提交</a:t>
                      </a:r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”</a:t>
                      </a:r>
                      <a:r>
                        <a:rPr lang="en-US" altLang="zh-CN" sz="1200" kern="1200" dirty="0" smtClean="0">
                          <a:solidFill>
                            <a:schemeClr val="dk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 </a:t>
                      </a:r>
                      <a:r>
                        <a:rPr lang="zh-CN" altLang="en-US" sz="1200" kern="1200" dirty="0" smtClean="0">
                          <a:solidFill>
                            <a:schemeClr val="dk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档案</a:t>
                      </a:r>
                      <a:endParaRPr lang="zh-CN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8000">
                <a:tc>
                  <a:txBody>
                    <a:bodyPr/>
                    <a:lstStyle/>
                    <a:p>
                      <a:r>
                        <a:rPr lang="zh-CN" altLang="en-US" sz="1200" dirty="0" smtClean="0">
                          <a:solidFill>
                            <a:schemeClr val="tx1"/>
                          </a:solidFill>
                        </a:rPr>
                        <a:t>撤回档案</a:t>
                      </a:r>
                      <a:endParaRPr lang="zh-CN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点击</a:t>
                      </a:r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【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撤回</a:t>
                      </a:r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】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进行重新修改</a:t>
                      </a:r>
                      <a:endParaRPr lang="zh-CN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kern="1200" dirty="0" smtClean="0">
                          <a:solidFill>
                            <a:schemeClr val="dk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双击列表中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“待审批</a:t>
                      </a:r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”</a:t>
                      </a:r>
                      <a:r>
                        <a:rPr lang="en-US" altLang="zh-CN" sz="1200" kern="1200" dirty="0" smtClean="0">
                          <a:solidFill>
                            <a:schemeClr val="dk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 </a:t>
                      </a:r>
                      <a:r>
                        <a:rPr lang="zh-CN" altLang="en-US" sz="1200" kern="1200" dirty="0" smtClean="0">
                          <a:solidFill>
                            <a:schemeClr val="dk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档案</a:t>
                      </a:r>
                      <a:endParaRPr lang="zh-CN" altLang="en-US" sz="120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58579" y="2798139"/>
            <a:ext cx="4029075" cy="1219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0523962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211BAA2-4BFC-47F2-8F77-B71FCDCC4897}" type="slidenum">
              <a:rPr lang="ko-KR" altLang="en-US" smtClean="0"/>
              <a:pPr>
                <a:defRPr/>
              </a:pPr>
              <a:t>6</a:t>
            </a:fld>
            <a:endParaRPr lang="en-US" altLang="ko-KR" dirty="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54539" y="214291"/>
            <a:ext cx="11228786" cy="496869"/>
          </a:xfrm>
        </p:spPr>
        <p:txBody>
          <a:bodyPr/>
          <a:lstStyle/>
          <a:p>
            <a:r>
              <a:rPr lang="en-US" altLang="zh-CN" dirty="0" smtClean="0"/>
              <a:t>2-</a:t>
            </a:r>
            <a:r>
              <a:rPr lang="en-US" altLang="zh-CN" dirty="0"/>
              <a:t>Workplace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9" name="表格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59276115"/>
              </p:ext>
            </p:extLst>
          </p:nvPr>
        </p:nvGraphicFramePr>
        <p:xfrm>
          <a:off x="506264" y="803069"/>
          <a:ext cx="11160000" cy="115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82772"/>
                <a:gridCol w="7861254"/>
                <a:gridCol w="2315974"/>
              </a:tblGrid>
              <a:tr h="288000">
                <a:tc>
                  <a:txBody>
                    <a:bodyPr/>
                    <a:lstStyle/>
                    <a:p>
                      <a:r>
                        <a:rPr lang="zh-CN" altLang="en-US" sz="1200" dirty="0" smtClean="0">
                          <a:solidFill>
                            <a:schemeClr val="tx1"/>
                          </a:solidFill>
                        </a:rPr>
                        <a:t>作业类型</a:t>
                      </a:r>
                      <a:endParaRPr lang="zh-CN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200" dirty="0" smtClean="0">
                          <a:solidFill>
                            <a:schemeClr val="tx1"/>
                          </a:solidFill>
                        </a:rPr>
                        <a:t>操作</a:t>
                      </a:r>
                      <a:endParaRPr lang="zh-CN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200" dirty="0" smtClean="0">
                          <a:solidFill>
                            <a:schemeClr val="tx1"/>
                          </a:solidFill>
                        </a:rPr>
                        <a:t>前置条件</a:t>
                      </a:r>
                      <a:endParaRPr lang="zh-CN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288000">
                <a:tc>
                  <a:txBody>
                    <a:bodyPr/>
                    <a:lstStyle/>
                    <a:p>
                      <a:r>
                        <a:rPr lang="zh-CN" altLang="en-US" sz="1200" dirty="0" smtClean="0">
                          <a:solidFill>
                            <a:schemeClr val="tx1"/>
                          </a:solidFill>
                        </a:rPr>
                        <a:t>审批档案</a:t>
                      </a:r>
                      <a:endParaRPr lang="zh-CN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点击</a:t>
                      </a:r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【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审批</a:t>
                      </a:r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】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，状态变更为“审批完成”。 </a:t>
                      </a:r>
                      <a:endParaRPr lang="en-US" altLang="zh-CN" sz="1200" dirty="0" smtClean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200" kern="1200" dirty="0" smtClean="0">
                          <a:solidFill>
                            <a:schemeClr val="dk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双击列表中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“待审批</a:t>
                      </a:r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”</a:t>
                      </a:r>
                      <a:r>
                        <a:rPr lang="en-US" altLang="zh-CN" sz="1200" kern="1200" dirty="0" smtClean="0">
                          <a:solidFill>
                            <a:schemeClr val="dk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 VTB</a:t>
                      </a:r>
                      <a:endParaRPr lang="zh-CN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8000">
                <a:tc>
                  <a:txBody>
                    <a:bodyPr/>
                    <a:lstStyle/>
                    <a:p>
                      <a:r>
                        <a:rPr lang="zh-CN" altLang="en-US" sz="1200" dirty="0" smtClean="0">
                          <a:solidFill>
                            <a:schemeClr val="tx1"/>
                          </a:solidFill>
                        </a:rPr>
                        <a:t>否决档案</a:t>
                      </a:r>
                      <a:endParaRPr lang="zh-CN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587" lvl="1" indent="0" defTabSz="936625">
                        <a:buFont typeface="+mj-lt"/>
                        <a:buNone/>
                      </a:pP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点击</a:t>
                      </a:r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【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取消审批</a:t>
                      </a:r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】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，状态变更为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“待审批”。  待审批档案前置</a:t>
                      </a:r>
                      <a:endParaRPr lang="en-US" altLang="zh-CN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200" kern="1200" dirty="0" smtClean="0">
                          <a:solidFill>
                            <a:schemeClr val="dk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双击列表中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“审批完成</a:t>
                      </a:r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”</a:t>
                      </a:r>
                      <a:r>
                        <a:rPr lang="en-US" altLang="zh-CN" sz="1200" kern="1200" dirty="0" smtClean="0">
                          <a:solidFill>
                            <a:schemeClr val="dk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 </a:t>
                      </a:r>
                      <a:r>
                        <a:rPr lang="en-US" altLang="zh-CN" sz="1200" kern="1200" dirty="0" smtClean="0">
                          <a:solidFill>
                            <a:schemeClr val="dk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VTB</a:t>
                      </a:r>
                      <a:endParaRPr lang="zh-CN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8000">
                <a:tc>
                  <a:txBody>
                    <a:bodyPr/>
                    <a:lstStyle/>
                    <a:p>
                      <a:endParaRPr lang="zh-CN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zh-CN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1950" y="2409825"/>
            <a:ext cx="11466513" cy="2038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7147235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211BAA2-4BFC-47F2-8F77-B71FCDCC4897}" type="slidenum">
              <a:rPr lang="ko-KR" altLang="en-US" smtClean="0"/>
              <a:pPr>
                <a:defRPr/>
              </a:pPr>
              <a:t>7</a:t>
            </a:fld>
            <a:endParaRPr lang="en-US" altLang="ko-KR" dirty="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54539" y="214291"/>
            <a:ext cx="11228786" cy="496869"/>
          </a:xfrm>
        </p:spPr>
        <p:txBody>
          <a:bodyPr/>
          <a:lstStyle/>
          <a:p>
            <a:r>
              <a:rPr lang="en-US" altLang="zh-CN" dirty="0" smtClean="0"/>
              <a:t>3-</a:t>
            </a:r>
            <a:r>
              <a:rPr lang="zh-CN" altLang="en-US" dirty="0" smtClean="0"/>
              <a:t>档案查询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9" name="表格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87228282"/>
              </p:ext>
            </p:extLst>
          </p:nvPr>
        </p:nvGraphicFramePr>
        <p:xfrm>
          <a:off x="506264" y="803069"/>
          <a:ext cx="11160000" cy="115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41783"/>
                <a:gridCol w="7702243"/>
                <a:gridCol w="2315974"/>
              </a:tblGrid>
              <a:tr h="288000">
                <a:tc>
                  <a:txBody>
                    <a:bodyPr/>
                    <a:lstStyle/>
                    <a:p>
                      <a:r>
                        <a:rPr lang="zh-CN" altLang="en-US" sz="1200" dirty="0" smtClean="0">
                          <a:solidFill>
                            <a:schemeClr val="tx1"/>
                          </a:solidFill>
                        </a:rPr>
                        <a:t>作业类型</a:t>
                      </a:r>
                      <a:endParaRPr lang="zh-CN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200" dirty="0" smtClean="0">
                          <a:solidFill>
                            <a:schemeClr val="tx1"/>
                          </a:solidFill>
                        </a:rPr>
                        <a:t>操作</a:t>
                      </a:r>
                      <a:endParaRPr lang="zh-CN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200" dirty="0" smtClean="0">
                          <a:solidFill>
                            <a:schemeClr val="tx1"/>
                          </a:solidFill>
                        </a:rPr>
                        <a:t>前置条件</a:t>
                      </a:r>
                      <a:endParaRPr lang="zh-CN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288000">
                <a:tc>
                  <a:txBody>
                    <a:bodyPr/>
                    <a:lstStyle/>
                    <a:p>
                      <a:r>
                        <a:rPr lang="zh-CN" altLang="en-US" sz="1200" dirty="0" smtClean="0">
                          <a:solidFill>
                            <a:schemeClr val="tx1"/>
                          </a:solidFill>
                        </a:rPr>
                        <a:t>查询档案</a:t>
                      </a:r>
                      <a:endParaRPr lang="zh-CN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输入</a:t>
                      </a:r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[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档案编号、姓名、性别</a:t>
                      </a:r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]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等信息</a:t>
                      </a:r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,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点击</a:t>
                      </a:r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【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查询</a:t>
                      </a:r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】</a:t>
                      </a:r>
                      <a:endParaRPr lang="en-US" altLang="zh-CN" sz="1200" dirty="0" smtClean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zh-CN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8000">
                <a:tc>
                  <a:txBody>
                    <a:bodyPr/>
                    <a:lstStyle/>
                    <a:p>
                      <a:r>
                        <a:rPr lang="zh-CN" altLang="en-US" sz="1200" dirty="0" smtClean="0">
                          <a:solidFill>
                            <a:schemeClr val="tx1"/>
                          </a:solidFill>
                        </a:rPr>
                        <a:t>清空查询条件</a:t>
                      </a:r>
                      <a:endParaRPr lang="zh-CN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587" lvl="1" indent="0" defTabSz="936625">
                        <a:buFont typeface="+mj-lt"/>
                        <a:buNone/>
                      </a:pP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点击</a:t>
                      </a:r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【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重置</a:t>
                      </a:r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】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清空查询条件</a:t>
                      </a:r>
                      <a:endParaRPr lang="en-US" altLang="zh-CN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zh-CN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8000">
                <a:tc>
                  <a:txBody>
                    <a:bodyPr/>
                    <a:lstStyle/>
                    <a:p>
                      <a:r>
                        <a:rPr lang="zh-CN" altLang="en-US" sz="1200" dirty="0" smtClean="0">
                          <a:solidFill>
                            <a:schemeClr val="tx1"/>
                          </a:solidFill>
                        </a:rPr>
                        <a:t>打印档案</a:t>
                      </a:r>
                      <a:endParaRPr lang="zh-CN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双击查询的内容，进入打印浏览画面，点击</a:t>
                      </a:r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【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打印</a:t>
                      </a:r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】</a:t>
                      </a:r>
                      <a:endParaRPr lang="en-US" altLang="zh-CN" sz="1200" dirty="0" smtClean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pic>
        <p:nvPicPr>
          <p:cNvPr id="307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5275" y="2319338"/>
            <a:ext cx="11599863" cy="2219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1081683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211BAA2-4BFC-47F2-8F77-B71FCDCC4897}" type="slidenum">
              <a:rPr lang="ko-KR" altLang="en-US" smtClean="0"/>
              <a:pPr>
                <a:defRPr/>
              </a:pPr>
              <a:t>8</a:t>
            </a:fld>
            <a:endParaRPr lang="en-US" altLang="ko-KR" dirty="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54539" y="214291"/>
            <a:ext cx="11228786" cy="496869"/>
          </a:xfrm>
        </p:spPr>
        <p:txBody>
          <a:bodyPr/>
          <a:lstStyle/>
          <a:p>
            <a:r>
              <a:rPr lang="en-US" altLang="zh-CN" dirty="0" smtClean="0"/>
              <a:t>4-</a:t>
            </a:r>
            <a:r>
              <a:rPr lang="zh-CN" altLang="en-US" dirty="0" smtClean="0"/>
              <a:t>档案打印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8" name="直接连接符 7"/>
          <p:cNvCxnSpPr/>
          <p:nvPr/>
        </p:nvCxnSpPr>
        <p:spPr bwMode="auto">
          <a:xfrm>
            <a:off x="633861" y="1346182"/>
            <a:ext cx="2376000" cy="158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TextBox 9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68059" y="1013138"/>
            <a:ext cx="2257425" cy="292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>
              <a:defRPr/>
            </a:pPr>
            <a:r>
              <a:rPr kumimoji="0" lang="zh-CN" altLang="en-US" sz="1300" b="1" dirty="0" smtClean="0">
                <a:latin typeface="微软雅黑" pitchFamily="34" charset="-122"/>
                <a:ea typeface="微软雅黑" pitchFamily="34" charset="-122"/>
              </a:rPr>
              <a:t>说明</a:t>
            </a:r>
            <a:endParaRPr kumimoji="0" lang="ko-KR" altLang="en-US" sz="1300" b="1" dirty="0">
              <a:latin typeface="微软雅黑" pitchFamily="34" charset="-122"/>
              <a:ea typeface="윤고딕130" pitchFamily="18" charset="-127"/>
            </a:endParaRPr>
          </a:p>
        </p:txBody>
      </p:sp>
      <p:sp>
        <p:nvSpPr>
          <p:cNvPr id="11" name="TextBox 5"/>
          <p:cNvSpPr txBox="1">
            <a:spLocks noChangeArrowheads="1"/>
          </p:cNvSpPr>
          <p:nvPr/>
        </p:nvSpPr>
        <p:spPr bwMode="auto">
          <a:xfrm>
            <a:off x="484998" y="1369036"/>
            <a:ext cx="1117891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kumimoji="1" sz="1400">
                <a:solidFill>
                  <a:schemeClr val="tx1"/>
                </a:solidFill>
                <a:latin typeface="Arial" pitchFamily="34" charset="0"/>
                <a:ea typeface="굴림" pitchFamily="34" charset="-127"/>
              </a:defRPr>
            </a:lvl1pPr>
            <a:lvl2pPr marL="742950" indent="-285750" eaLnBrk="0" hangingPunct="0">
              <a:defRPr kumimoji="1" sz="1400">
                <a:solidFill>
                  <a:schemeClr val="tx1"/>
                </a:solidFill>
                <a:latin typeface="Arial" pitchFamily="34" charset="0"/>
                <a:ea typeface="굴림" pitchFamily="34" charset="-127"/>
              </a:defRPr>
            </a:lvl2pPr>
            <a:lvl3pPr marL="1143000" indent="-228600" eaLnBrk="0" hangingPunct="0">
              <a:defRPr kumimoji="1" sz="1400">
                <a:solidFill>
                  <a:schemeClr val="tx1"/>
                </a:solidFill>
                <a:latin typeface="Arial" pitchFamily="34" charset="0"/>
                <a:ea typeface="굴림" pitchFamily="34" charset="-127"/>
              </a:defRPr>
            </a:lvl3pPr>
            <a:lvl4pPr marL="1600200" indent="-228600" eaLnBrk="0" hangingPunct="0">
              <a:defRPr kumimoji="1" sz="1400">
                <a:solidFill>
                  <a:schemeClr val="tx1"/>
                </a:solidFill>
                <a:latin typeface="Arial" pitchFamily="34" charset="0"/>
                <a:ea typeface="굴림" pitchFamily="34" charset="-127"/>
              </a:defRPr>
            </a:lvl4pPr>
            <a:lvl5pPr marL="2057400" indent="-228600" eaLnBrk="0" hangingPunct="0">
              <a:defRPr kumimoji="1" sz="1400">
                <a:solidFill>
                  <a:schemeClr val="tx1"/>
                </a:solidFill>
                <a:latin typeface="Arial" pitchFamily="34" charset="0"/>
                <a:ea typeface="굴림" pitchFamily="34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Arial" pitchFamily="34" charset="0"/>
                <a:ea typeface="굴림" pitchFamily="34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Arial" pitchFamily="34" charset="0"/>
                <a:ea typeface="굴림" pitchFamily="34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Arial" pitchFamily="34" charset="0"/>
                <a:ea typeface="굴림" pitchFamily="34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Arial" pitchFamily="34" charset="0"/>
                <a:ea typeface="굴림" pitchFamily="34" charset="-127"/>
              </a:defRPr>
            </a:lvl9pPr>
          </a:lstStyle>
          <a:p>
            <a:pPr marL="230187" lvl="1" indent="-228600" defTabSz="936625">
              <a:buFont typeface="+mj-lt"/>
              <a:buAutoNum type="arabicPeriod"/>
            </a:pPr>
            <a:r>
              <a:rPr lang="zh-CN" altLang="en-US" sz="1200" dirty="0" smtClean="0">
                <a:latin typeface="微软雅黑" pitchFamily="34" charset="-122"/>
                <a:ea typeface="微软雅黑" pitchFamily="34" charset="-122"/>
              </a:rPr>
              <a:t>点击</a:t>
            </a:r>
            <a:r>
              <a:rPr lang="en-US" altLang="zh-CN" sz="1200" dirty="0" smtClean="0">
                <a:latin typeface="微软雅黑" pitchFamily="34" charset="-122"/>
                <a:ea typeface="微软雅黑" pitchFamily="34" charset="-122"/>
              </a:rPr>
              <a:t>【</a:t>
            </a:r>
            <a:r>
              <a:rPr lang="zh-CN" altLang="en-US" sz="1200" dirty="0">
                <a:latin typeface="微软雅黑" pitchFamily="34" charset="-122"/>
                <a:ea typeface="微软雅黑" pitchFamily="34" charset="-122"/>
              </a:rPr>
              <a:t>打印</a:t>
            </a:r>
            <a:r>
              <a:rPr lang="en-US" altLang="zh-CN" sz="1200" dirty="0" smtClean="0">
                <a:latin typeface="微软雅黑" pitchFamily="34" charset="-122"/>
                <a:ea typeface="微软雅黑" pitchFamily="34" charset="-122"/>
              </a:rPr>
              <a:t>】</a:t>
            </a:r>
            <a:r>
              <a:rPr lang="zh-CN" altLang="en-US" sz="1200" dirty="0" smtClean="0">
                <a:latin typeface="微软雅黑" pitchFamily="34" charset="-122"/>
                <a:ea typeface="微软雅黑" pitchFamily="34" charset="-122"/>
              </a:rPr>
              <a:t>，选择适用打印机</a:t>
            </a:r>
            <a:r>
              <a:rPr lang="en-US" altLang="zh-CN" sz="1200" dirty="0" smtClean="0">
                <a:latin typeface="微软雅黑" pitchFamily="34" charset="-122"/>
                <a:ea typeface="微软雅黑" pitchFamily="34" charset="-122"/>
              </a:rPr>
              <a:t> </a:t>
            </a:r>
            <a:endParaRPr lang="en-US" altLang="zh-CN" sz="1200" dirty="0" smtClean="0"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60240" y="1930709"/>
            <a:ext cx="4514850" cy="381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100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3861" y="1779736"/>
            <a:ext cx="6048375" cy="4276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9594374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246825" y="2228393"/>
            <a:ext cx="4385547" cy="259397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altLang="zh-CN" sz="9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EOD</a:t>
            </a:r>
            <a:endParaRPr lang="zh-CN" altLang="en-US" sz="9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211BAA2-4BFC-47F2-8F77-B71FCDCC4897}" type="slidenum">
              <a:rPr lang="ko-KR" altLang="en-US" smtClean="0">
                <a:latin typeface="微软雅黑" panose="020B0503020204020204" pitchFamily="34" charset="-122"/>
              </a:rPr>
              <a:pPr>
                <a:defRPr/>
              </a:pPr>
              <a:t>9</a:t>
            </a:fld>
            <a:endParaRPr lang="en-US" altLang="ko-KR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5729889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mHNARPD0anqDcxUuZ7E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mHNARPD0anqDcxUuZ7Ew"/>
</p:tagLst>
</file>

<file path=ppt/theme/theme1.xml><?xml version="1.0" encoding="utf-8"?>
<a:theme xmlns:a="http://schemas.openxmlformats.org/drawingml/2006/main" name="Default Design">
  <a:themeElements>
    <a:clrScheme name="Default Design 16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5F5F5F"/>
      </a:accent2>
      <a:accent3>
        <a:srgbClr val="FFFFFF"/>
      </a:accent3>
      <a:accent4>
        <a:srgbClr val="000000"/>
      </a:accent4>
      <a:accent5>
        <a:srgbClr val="FFFFFF"/>
      </a:accent5>
      <a:accent6>
        <a:srgbClr val="555555"/>
      </a:accent6>
      <a:hlink>
        <a:srgbClr val="B2B2B2"/>
      </a:hlink>
      <a:folHlink>
        <a:srgbClr val="B2B2B2"/>
      </a:folHlink>
    </a:clrScheme>
    <a:fontScheme name="DICC_VISTA">
      <a:majorFont>
        <a:latin typeface="Arial Black"/>
        <a:ea typeface="윤고딕150"/>
        <a:cs typeface=""/>
      </a:majorFont>
      <a:minorFont>
        <a:latin typeface="Arial"/>
        <a:ea typeface="윤고딕130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>
        <a:spAutoFit/>
      </a:bodyPr>
      <a:lstStyle>
        <a:defPPr algn="l">
          <a:defRPr dirty="0"/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ctr" anchorCtr="0" compatLnSpc="1">
        <a:prstTxWarp prst="textNoShape">
          <a:avLst/>
        </a:prstTxWarp>
      </a:bodyPr>
      <a:lstStyle>
        <a:defPPr marL="104775" marR="0" indent="-103188" algn="r" defTabSz="936625" rtl="0" eaLnBrk="0" fontAlgn="base" latinLnBrk="0" hangingPunct="0">
          <a:lnSpc>
            <a:spcPct val="8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윤고딕130" pitchFamily="18" charset="-127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3">
        <a:dk1>
          <a:srgbClr val="333333"/>
        </a:dk1>
        <a:lt1>
          <a:srgbClr val="FFFFFF"/>
        </a:lt1>
        <a:dk2>
          <a:srgbClr val="000000"/>
        </a:dk2>
        <a:lt2>
          <a:srgbClr val="808080"/>
        </a:lt2>
        <a:accent1>
          <a:srgbClr val="103991"/>
        </a:accent1>
        <a:accent2>
          <a:srgbClr val="333399"/>
        </a:accent2>
        <a:accent3>
          <a:srgbClr val="FFFFFF"/>
        </a:accent3>
        <a:accent4>
          <a:srgbClr val="2A2A2A"/>
        </a:accent4>
        <a:accent5>
          <a:srgbClr val="AAAEC7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4">
        <a:dk1>
          <a:srgbClr val="333333"/>
        </a:dk1>
        <a:lt1>
          <a:srgbClr val="FFFFFF"/>
        </a:lt1>
        <a:dk2>
          <a:srgbClr val="000000"/>
        </a:dk2>
        <a:lt2>
          <a:srgbClr val="808080"/>
        </a:lt2>
        <a:accent1>
          <a:srgbClr val="F7EDD4"/>
        </a:accent1>
        <a:accent2>
          <a:srgbClr val="103991"/>
        </a:accent2>
        <a:accent3>
          <a:srgbClr val="FFFFFF"/>
        </a:accent3>
        <a:accent4>
          <a:srgbClr val="2A2A2A"/>
        </a:accent4>
        <a:accent5>
          <a:srgbClr val="FAF4E6"/>
        </a:accent5>
        <a:accent6>
          <a:srgbClr val="0D3383"/>
        </a:accent6>
        <a:hlink>
          <a:srgbClr val="0083CD"/>
        </a:hlink>
        <a:folHlink>
          <a:srgbClr val="00987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5">
        <a:dk1>
          <a:srgbClr val="000000"/>
        </a:dk1>
        <a:lt1>
          <a:srgbClr val="FFFFFF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5F5F5F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555555"/>
        </a:accent6>
        <a:hlink>
          <a:srgbClr val="0083CD"/>
        </a:hlink>
        <a:folHlink>
          <a:srgbClr val="00987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6">
        <a:dk1>
          <a:srgbClr val="000000"/>
        </a:dk1>
        <a:lt1>
          <a:srgbClr val="FFFFFF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5F5F5F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555555"/>
        </a:accent6>
        <a:hlink>
          <a:srgbClr val="B2B2B2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975</TotalTime>
  <Words>333</Words>
  <Application>Microsoft Office PowerPoint</Application>
  <PresentationFormat>自定义</PresentationFormat>
  <Paragraphs>97</Paragraphs>
  <Slides>9</Slides>
  <Notes>1</Notes>
  <HiddenSlides>0</HiddenSlides>
  <MMClips>0</MMClips>
  <ScaleCrop>false</ScaleCrop>
  <HeadingPairs>
    <vt:vector size="4" baseType="variant">
      <vt:variant>
        <vt:lpstr>主题</vt:lpstr>
      </vt:variant>
      <vt:variant>
        <vt:i4>1</vt:i4>
      </vt:variant>
      <vt:variant>
        <vt:lpstr>幻灯片标题</vt:lpstr>
      </vt:variant>
      <vt:variant>
        <vt:i4>9</vt:i4>
      </vt:variant>
    </vt:vector>
  </HeadingPairs>
  <TitlesOfParts>
    <vt:vector size="10" baseType="lpstr">
      <vt:lpstr>Default Design</vt:lpstr>
      <vt:lpstr>PDMS系统培训资料 - 档案管理 V1.0</vt:lpstr>
      <vt:lpstr>文档控制_版本信息</vt:lpstr>
      <vt:lpstr>概述</vt:lpstr>
      <vt:lpstr>档案管理_Process</vt:lpstr>
      <vt:lpstr>1-档案登记</vt:lpstr>
      <vt:lpstr>2-Workplace</vt:lpstr>
      <vt:lpstr>3-档案查询</vt:lpstr>
      <vt:lpstr>4-档案打印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CS系统服务模块培训资料 - 维修（WCA）费用 &amp; 有偿报告</dc:title>
  <dc:creator>田龙</dc:creator>
  <cp:lastModifiedBy>董海朋(Haipeng Dong) Assistant Manager DSIC</cp:lastModifiedBy>
  <cp:revision>195</cp:revision>
  <dcterms:created xsi:type="dcterms:W3CDTF">2013-01-07T08:17:52Z</dcterms:created>
  <dcterms:modified xsi:type="dcterms:W3CDTF">2018-05-09T02:50:15Z</dcterms:modified>
</cp:coreProperties>
</file>